
<file path=[Content_Types].xml><?xml version="1.0" encoding="utf-8"?>
<Types xmlns="http://schemas.openxmlformats.org/package/2006/content-types">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ink/ink1.xml" ContentType="application/inkml+xml"/>
  <Override PartName="/ppt/theme/themeOverride1.xml" ContentType="application/vnd.openxmlformats-officedocument.themeOverride+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151" r:id="rId4"/>
  </p:sldMasterIdLst>
  <p:notesMasterIdLst>
    <p:notesMasterId r:id="rId41"/>
  </p:notesMasterIdLst>
  <p:handoutMasterIdLst>
    <p:handoutMasterId r:id="rId42"/>
  </p:handoutMasterIdLst>
  <p:sldIdLst>
    <p:sldId id="2147478427" r:id="rId5"/>
    <p:sldId id="2147479776" r:id="rId6"/>
    <p:sldId id="2147478544" r:id="rId7"/>
    <p:sldId id="2147479779" r:id="rId8"/>
    <p:sldId id="2147479786" r:id="rId9"/>
    <p:sldId id="2147479782" r:id="rId10"/>
    <p:sldId id="2147479790" r:id="rId11"/>
    <p:sldId id="2147479791" r:id="rId12"/>
    <p:sldId id="2147479793" r:id="rId13"/>
    <p:sldId id="2147479792" r:id="rId14"/>
    <p:sldId id="2147479794" r:id="rId15"/>
    <p:sldId id="2147479795" r:id="rId16"/>
    <p:sldId id="2147478539" r:id="rId17"/>
    <p:sldId id="2147478541" r:id="rId18"/>
    <p:sldId id="2147478542" r:id="rId19"/>
    <p:sldId id="2147478543" r:id="rId20"/>
    <p:sldId id="2147478546" r:id="rId21"/>
    <p:sldId id="2147478547" r:id="rId22"/>
    <p:sldId id="2147478549" r:id="rId23"/>
    <p:sldId id="2147478550" r:id="rId24"/>
    <p:sldId id="2147478548" r:id="rId25"/>
    <p:sldId id="2147478552" r:id="rId26"/>
    <p:sldId id="2147478551" r:id="rId27"/>
    <p:sldId id="2147478553" r:id="rId28"/>
    <p:sldId id="2147478554" r:id="rId29"/>
    <p:sldId id="2147478555" r:id="rId30"/>
    <p:sldId id="2147478556" r:id="rId31"/>
    <p:sldId id="2147478557" r:id="rId32"/>
    <p:sldId id="2147479780" r:id="rId33"/>
    <p:sldId id="2147479783" r:id="rId34"/>
    <p:sldId id="2147479789" r:id="rId35"/>
    <p:sldId id="2147479797" r:id="rId36"/>
    <p:sldId id="2147479788" r:id="rId37"/>
    <p:sldId id="2147479796" r:id="rId38"/>
    <p:sldId id="2147478538" r:id="rId39"/>
    <p:sldId id="2147478535" r:id="rId40"/>
  </p:sldIdLst>
  <p:sldSz cx="12192000" cy="6858000"/>
  <p:notesSz cx="6858000" cy="9144000"/>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F9DAF135-B04A-49DE-A61F-8C9843AB1B4C}">
          <p14:sldIdLst>
            <p14:sldId id="2147478427"/>
            <p14:sldId id="2147479776"/>
            <p14:sldId id="2147478544"/>
            <p14:sldId id="2147479779"/>
            <p14:sldId id="2147479786"/>
            <p14:sldId id="2147479782"/>
            <p14:sldId id="2147479790"/>
            <p14:sldId id="2147479791"/>
            <p14:sldId id="2147479793"/>
            <p14:sldId id="2147479792"/>
            <p14:sldId id="2147479794"/>
            <p14:sldId id="2147479795"/>
            <p14:sldId id="2147478539"/>
            <p14:sldId id="2147478541"/>
            <p14:sldId id="2147478542"/>
            <p14:sldId id="2147478543"/>
            <p14:sldId id="2147478546"/>
            <p14:sldId id="2147478547"/>
            <p14:sldId id="2147478549"/>
            <p14:sldId id="2147478550"/>
            <p14:sldId id="2147478548"/>
            <p14:sldId id="2147478552"/>
            <p14:sldId id="2147478551"/>
            <p14:sldId id="2147478553"/>
            <p14:sldId id="2147478554"/>
            <p14:sldId id="2147478555"/>
            <p14:sldId id="2147478556"/>
            <p14:sldId id="2147478557"/>
            <p14:sldId id="2147479780"/>
            <p14:sldId id="2147479783"/>
            <p14:sldId id="2147479789"/>
            <p14:sldId id="2147479797"/>
            <p14:sldId id="2147479788"/>
            <p14:sldId id="2147479796"/>
            <p14:sldId id="2147478538"/>
            <p14:sldId id="214747853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66D6B86-BE68-0391-C8B4-AC7979848279}" name="Neenu Sharma" initials="NS" userId="S::neenu.sharma@veeam.com::ed094e59-be11-4a7c-aca9-6be41115b955" providerId="AD"/>
  <p188:author id="{5A0A59A8-32FC-CB8D-460D-EC7DBD6B064F}" name="Natalia Krivopustova" initials="NK" userId="S::NKrivopustova@veeam.com::a3bcac9a-9d34-497d-a350-f644a5d33214" providerId="AD"/>
  <p188:author id="{EA6AFABF-06D8-C8F4-DDBA-37006C120F42}" name="Alexandr Pozdeev" initials="AP" userId="S::alexandr.pozdeev@veeam.com::d5923238-7b3e-4dbe-90eb-48912a57e410" providerId="AD"/>
  <p188:author id="{5C5DF9CC-CD08-D193-7E7C-813A6A69F536}" name="Tyler Lynch" initials="TL" userId="S::Tyler@duarte.com::2b0022d4-4731-4590-970e-389865d721af" providerId="AD"/>
  <p188:author id="{5CD0E0F7-3FC7-AD12-48E9-E65A21C996B3}" name="Jay Kapur" initials="JK" userId="S::jay@duarte.com::ad043807-da17-49d2-b2f0-e3300631601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836"/>
    <a:srgbClr val="FBFBFB"/>
    <a:srgbClr val="DBDEE1"/>
    <a:srgbClr val="B6BCC3"/>
    <a:srgbClr val="929BA5"/>
    <a:srgbClr val="505861"/>
    <a:srgbClr val="00D15F"/>
    <a:srgbClr val="AA94F2"/>
    <a:srgbClr val="9A7FF5"/>
    <a:srgbClr val="BBAA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47A4856-DB43-CA45-9CBE-DB3877A59F76}" v="45" dt="2024-10-29T09:04:23.258"/>
    <p1510:client id="{DE803EE5-532C-4E21-BDD6-2406D54193B0}" v="28" dt="2024-10-29T10:50:59.629"/>
  </p1510:revLst>
</p1510:revInfo>
</file>

<file path=ppt/tableStyles.xml><?xml version="1.0" encoding="utf-8"?>
<a:tblStyleLst xmlns:a="http://schemas.openxmlformats.org/drawingml/2006/main" def="{B301B821-A1FF-4177-AEE7-76D212191A09}">
  <a:tblStyle styleId="{5C22544A-7EE6-4342-B048-85BDC9FD1C3A}" styleName="Medium Style 2 - Accent 1">
    <a:wholeTbl>
      <a:tcTxStyle>
        <a:fontRef idx="minor">
          <a:srgbClr val="505861"/>
        </a:fontRef>
        <a:srgbClr val="505861"/>
      </a:tcTxStyle>
      <a:tcStyle>
        <a:tcBdr>
          <a:left>
            <a:ln w="0" cmpd="sng">
              <a:solidFill>
                <a:schemeClr val="lt1"/>
              </a:solidFill>
            </a:ln>
          </a:left>
          <a:right>
            <a:ln w="0" cmpd="sng">
              <a:solidFill>
                <a:schemeClr val="lt1"/>
              </a:solidFill>
            </a:ln>
          </a:right>
          <a:top>
            <a:ln w="0" cmpd="sng">
              <a:solidFill>
                <a:schemeClr val="lt1"/>
              </a:solidFill>
            </a:ln>
          </a:top>
          <a:bottom>
            <a:ln w="7000" cmpd="sng">
              <a:solidFill>
                <a:srgbClr val="E6E7F1"/>
              </a:solidFill>
            </a:ln>
          </a:bottom>
          <a:insideH>
            <a:ln w="7000" cmpd="sng">
              <a:solidFill>
                <a:srgbClr val="E6E7F1"/>
              </a:solidFill>
            </a:ln>
          </a:insideH>
          <a:insideV>
            <a:ln w="0" cmpd="sng">
              <a:solidFill>
                <a:schemeClr val="lt1"/>
              </a:solidFill>
            </a:ln>
          </a:insideV>
        </a:tcBdr>
        <a:fill>
          <a:solidFill>
            <a:schemeClr val="accent4">
              <a:alpha val="0"/>
            </a:schemeClr>
          </a:solidFill>
        </a:fill>
      </a:tcStyle>
    </a:wholeTbl>
    <a:band1H>
      <a:tcStyle>
        <a:tcBdr/>
        <a:fill>
          <a:solidFill>
            <a:schemeClr val="accent4">
              <a:alpha val="0"/>
            </a:schemeClr>
          </a:solidFill>
        </a:fill>
      </a:tcStyle>
    </a:band1H>
    <a:band2H>
      <a:tcStyle>
        <a:tcBdr/>
        <a:fill>
          <a:solidFill>
            <a:schemeClr val="accent4">
              <a:alpha val="0"/>
            </a:schemeClr>
          </a:solidFill>
        </a:fill>
      </a:tcStyle>
    </a:band2H>
    <a:band1V>
      <a:tcStyle>
        <a:tcBdr/>
        <a:fill>
          <a:solidFill>
            <a:schemeClr val="accent1">
              <a:alpha val="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insideV>
            <a:ln w="7000" cmpd="sng">
              <a:solidFill>
                <a:schemeClr val="lt1"/>
              </a:solidFill>
            </a:ln>
          </a:insideV>
        </a:tcBdr>
        <a:fill>
          <a:solidFill>
            <a:schemeClr val="accent1"/>
          </a:solidFill>
        </a:fill>
      </a:tcStyle>
    </a:lastRow>
    <a:firstRow>
      <a:tcTxStyle b="on">
        <a:fontRef idx="minor">
          <a:srgbClr val="00D15F"/>
        </a:fontRef>
        <a:srgbClr val="00D15F"/>
      </a:tcTxStyle>
      <a:tcStyle>
        <a:tcBdr>
          <a:bottom>
            <a:ln w="10500" cmpd="sng">
              <a:solidFill>
                <a:srgbClr val="00D15F"/>
              </a:solidFill>
            </a:ln>
          </a:bottom>
          <a:insideV>
            <a:ln w="0" cmpd="sng">
              <a:solidFill>
                <a:srgbClr val="005C37"/>
              </a:solidFill>
            </a:ln>
          </a:insideV>
        </a:tcBdr>
        <a:fill>
          <a:solidFill>
            <a:schemeClr val="accent1">
              <a:alpha val="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rgbClr val="505861"/>
        </a:fontRef>
        <a:srgbClr val="505861"/>
      </a:tcTxStyle>
      <a:tcStyle>
        <a:tcBdr>
          <a:left>
            <a:ln w="0" cmpd="sng">
              <a:solidFill>
                <a:schemeClr val="lt1"/>
              </a:solidFill>
            </a:ln>
          </a:left>
          <a:right>
            <a:ln w="0" cmpd="sng">
              <a:solidFill>
                <a:schemeClr val="lt1"/>
              </a:solidFill>
            </a:ln>
          </a:right>
          <a:top>
            <a:ln w="0" cmpd="sng">
              <a:solidFill>
                <a:schemeClr val="lt1"/>
              </a:solidFill>
            </a:ln>
          </a:top>
          <a:bottom>
            <a:ln w="7000" cmpd="sng">
              <a:solidFill>
                <a:srgbClr val="E6E7F1"/>
              </a:solidFill>
            </a:ln>
          </a:bottom>
          <a:insideH>
            <a:ln w="7000" cmpd="sng">
              <a:solidFill>
                <a:srgbClr val="E6E7F1"/>
              </a:solidFill>
            </a:ln>
          </a:insideH>
          <a:insideV>
            <a:ln w="0" cmpd="sng">
              <a:solidFill>
                <a:schemeClr val="lt1"/>
              </a:solidFill>
            </a:ln>
          </a:insideV>
        </a:tcBdr>
        <a:fill>
          <a:solidFill>
            <a:schemeClr val="accent4">
              <a:alpha val="0"/>
            </a:schemeClr>
          </a:solidFill>
        </a:fill>
      </a:tcStyle>
    </a:wholeTbl>
    <a:band1H>
      <a:tcStyle>
        <a:tcBdr/>
        <a:fill>
          <a:solidFill>
            <a:schemeClr val="accent4">
              <a:alpha val="0"/>
            </a:schemeClr>
          </a:solidFill>
        </a:fill>
      </a:tcStyle>
    </a:band1H>
    <a:band2H>
      <a:tcStyle>
        <a:tcBdr/>
        <a:fill>
          <a:solidFill>
            <a:schemeClr val="accent4">
              <a:alpha val="0"/>
            </a:schemeClr>
          </a:solidFill>
        </a:fill>
      </a:tcStyle>
    </a:band2H>
    <a:band1V>
      <a:tcStyle>
        <a:tcBdr/>
        <a:fill>
          <a:solidFill>
            <a:schemeClr val="accent1">
              <a:alpha val="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insideV>
            <a:ln w="7000" cmpd="sng">
              <a:solidFill>
                <a:schemeClr val="lt1"/>
              </a:solidFill>
            </a:ln>
          </a:insideV>
        </a:tcBdr>
        <a:fill>
          <a:solidFill>
            <a:schemeClr val="accent1"/>
          </a:solidFill>
        </a:fill>
      </a:tcStyle>
    </a:lastRow>
    <a:firstRow>
      <a:tcTxStyle b="on">
        <a:fontRef idx="minor">
          <a:srgbClr val="8E71F4"/>
        </a:fontRef>
        <a:srgbClr val="8E71F4"/>
      </a:tcTxStyle>
      <a:tcStyle>
        <a:tcBdr>
          <a:bottom>
            <a:ln w="10500" cmpd="sng">
              <a:solidFill>
                <a:srgbClr val="8E71F4"/>
              </a:solidFill>
            </a:ln>
          </a:bottom>
          <a:insideV>
            <a:ln w="0" cmpd="sng">
              <a:solidFill>
                <a:srgbClr val="005C37"/>
              </a:solidFill>
            </a:ln>
          </a:insideV>
        </a:tcBdr>
        <a:fill>
          <a:solidFill>
            <a:schemeClr val="accent1">
              <a:alpha val="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251"/>
    <p:restoredTop sz="94695"/>
  </p:normalViewPr>
  <p:slideViewPr>
    <p:cSldViewPr snapToGrid="0">
      <p:cViewPr varScale="1">
        <p:scale>
          <a:sx n="114" d="100"/>
          <a:sy n="114" d="100"/>
        </p:scale>
        <p:origin x="582" y="13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gs" Target="tags/tag1.xml"/><Relationship Id="rId48"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FE5FB8B-0990-501F-CBDA-8289ADEB909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ES Build" pitchFamily="50" charset="0"/>
            </a:endParaRPr>
          </a:p>
        </p:txBody>
      </p:sp>
      <p:sp>
        <p:nvSpPr>
          <p:cNvPr id="3" name="Date Placeholder 2">
            <a:extLst>
              <a:ext uri="{FF2B5EF4-FFF2-40B4-BE49-F238E27FC236}">
                <a16:creationId xmlns:a16="http://schemas.microsoft.com/office/drawing/2014/main" id="{C877E847-83A8-2B69-E0E8-3F504C182BE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908D62-93BB-489A-8F92-534C2AF6AC1C}" type="datetimeFigureOut">
              <a:rPr lang="en-US" smtClean="0">
                <a:latin typeface="ES Build" pitchFamily="50" charset="0"/>
              </a:rPr>
              <a:t>10/29/2024</a:t>
            </a:fld>
            <a:endParaRPr lang="en-US">
              <a:latin typeface="ES Build" pitchFamily="50" charset="0"/>
            </a:endParaRPr>
          </a:p>
        </p:txBody>
      </p:sp>
      <p:sp>
        <p:nvSpPr>
          <p:cNvPr id="4" name="Footer Placeholder 3">
            <a:extLst>
              <a:ext uri="{FF2B5EF4-FFF2-40B4-BE49-F238E27FC236}">
                <a16:creationId xmlns:a16="http://schemas.microsoft.com/office/drawing/2014/main" id="{8EF2CA24-2FA5-DD34-7905-7CBA9F38393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ES Build" pitchFamily="50" charset="0"/>
            </a:endParaRPr>
          </a:p>
        </p:txBody>
      </p:sp>
      <p:sp>
        <p:nvSpPr>
          <p:cNvPr id="5" name="Slide Number Placeholder 4">
            <a:extLst>
              <a:ext uri="{FF2B5EF4-FFF2-40B4-BE49-F238E27FC236}">
                <a16:creationId xmlns:a16="http://schemas.microsoft.com/office/drawing/2014/main" id="{59147AAB-FBD8-3417-7333-7DD68E445A1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C3182C0-81F9-45AC-A139-9D56FEA8E9F0}" type="slidenum">
              <a:rPr lang="en-US" smtClean="0">
                <a:latin typeface="ES Build" pitchFamily="50" charset="0"/>
              </a:rPr>
              <a:t>‹#›</a:t>
            </a:fld>
            <a:endParaRPr lang="en-US">
              <a:latin typeface="ES Build" pitchFamily="50" charset="0"/>
            </a:endParaRPr>
          </a:p>
        </p:txBody>
      </p:sp>
    </p:spTree>
    <p:extLst>
      <p:ext uri="{BB962C8B-B14F-4D97-AF65-F5344CB8AC3E}">
        <p14:creationId xmlns:p14="http://schemas.microsoft.com/office/powerpoint/2010/main" val="4107289971"/>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0-06T19:33:32.208"/>
    </inkml:context>
    <inkml:brush xml:id="br0">
      <inkml:brushProperty name="width" value="0.05" units="cm"/>
      <inkml:brushProperty name="height" value="0.05" units="cm"/>
      <inkml:brushProperty name="color" value="#E71224"/>
    </inkml:brush>
  </inkml:definitions>
  <inkml:trace contextRef="#ctx0" brushRef="#br0">1 0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ES Build" pitchFamily="50"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ES Build" pitchFamily="50" charset="0"/>
              </a:defRPr>
            </a:lvl1pPr>
          </a:lstStyle>
          <a:p>
            <a:fld id="{04FECDBD-7113-A144-A72E-4C1FC98DD220}" type="datetimeFigureOut">
              <a:rPr lang="en-US" smtClean="0"/>
              <a:pPr/>
              <a:t>10/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ES Build" pitchFamily="50"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ES Build" pitchFamily="50" charset="0"/>
              </a:defRPr>
            </a:lvl1pPr>
          </a:lstStyle>
          <a:p>
            <a:fld id="{A2D206B4-D7FF-F742-9988-8286DC6B11DB}" type="slidenum">
              <a:rPr lang="en-US" smtClean="0"/>
              <a:pPr/>
              <a:t>‹#›</a:t>
            </a:fld>
            <a:endParaRPr lang="en-US"/>
          </a:p>
        </p:txBody>
      </p:sp>
    </p:spTree>
    <p:extLst>
      <p:ext uri="{BB962C8B-B14F-4D97-AF65-F5344CB8AC3E}">
        <p14:creationId xmlns:p14="http://schemas.microsoft.com/office/powerpoint/2010/main" val="3979558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S Build" pitchFamily="50" charset="0"/>
        <a:ea typeface="+mn-ea"/>
        <a:cs typeface="+mn-cs"/>
      </a:defRPr>
    </a:lvl1pPr>
    <a:lvl2pPr marL="457200" algn="l" defTabSz="914400" rtl="0" eaLnBrk="1" latinLnBrk="0" hangingPunct="1">
      <a:defRPr sz="1200" kern="1200">
        <a:solidFill>
          <a:schemeClr val="tx1"/>
        </a:solidFill>
        <a:latin typeface="ES Build" pitchFamily="50" charset="0"/>
        <a:ea typeface="+mn-ea"/>
        <a:cs typeface="+mn-cs"/>
      </a:defRPr>
    </a:lvl2pPr>
    <a:lvl3pPr marL="914400" algn="l" defTabSz="914400" rtl="0" eaLnBrk="1" latinLnBrk="0" hangingPunct="1">
      <a:defRPr sz="1200" kern="1200">
        <a:solidFill>
          <a:schemeClr val="tx1"/>
        </a:solidFill>
        <a:latin typeface="ES Build" pitchFamily="50" charset="0"/>
        <a:ea typeface="+mn-ea"/>
        <a:cs typeface="+mn-cs"/>
      </a:defRPr>
    </a:lvl3pPr>
    <a:lvl4pPr marL="1371600" algn="l" defTabSz="914400" rtl="0" eaLnBrk="1" latinLnBrk="0" hangingPunct="1">
      <a:defRPr sz="1200" kern="1200">
        <a:solidFill>
          <a:schemeClr val="tx1"/>
        </a:solidFill>
        <a:latin typeface="ES Build" pitchFamily="50" charset="0"/>
        <a:ea typeface="+mn-ea"/>
        <a:cs typeface="+mn-cs"/>
      </a:defRPr>
    </a:lvl4pPr>
    <a:lvl5pPr marL="1828800" algn="l" defTabSz="914400" rtl="0" eaLnBrk="1" latinLnBrk="0" hangingPunct="1">
      <a:defRPr sz="1200" kern="1200">
        <a:solidFill>
          <a:schemeClr val="tx1"/>
        </a:solidFill>
        <a:latin typeface="ES Build"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5"/>
          </p:nvPr>
        </p:nvSpPr>
        <p:spPr/>
        <p:txBody>
          <a:bodyPr/>
          <a:lstStyle/>
          <a:p>
            <a:fld id="{A2D206B4-D7FF-F742-9988-8286DC6B11DB}" type="slidenum">
              <a:rPr lang="en-US" smtClean="0"/>
              <a:pPr/>
              <a:t>1</a:t>
            </a:fld>
            <a:endParaRPr lang="en-US"/>
          </a:p>
        </p:txBody>
      </p:sp>
    </p:spTree>
    <p:extLst>
      <p:ext uri="{BB962C8B-B14F-4D97-AF65-F5344CB8AC3E}">
        <p14:creationId xmlns:p14="http://schemas.microsoft.com/office/powerpoint/2010/main" val="14104535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8651D8-E8A2-1B97-7C0C-4DB5D995AC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AEA26A-E832-A01D-7C51-F7DF885F35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15D815-DC1F-2CBF-4BA9-75640298297F}"/>
              </a:ext>
            </a:extLst>
          </p:cNvPr>
          <p:cNvSpPr>
            <a:spLocks noGrp="1"/>
          </p:cNvSpPr>
          <p:nvPr>
            <p:ph type="body" idx="1"/>
          </p:nvPr>
        </p:nvSpPr>
        <p:spPr/>
        <p:txBody>
          <a:bodyPr/>
          <a:lstStyle/>
          <a:p>
            <a:pPr marL="171450" indent="-171450">
              <a:buFontTx/>
              <a:buChar char="-"/>
            </a:pPr>
            <a:endParaRPr lang="en-US"/>
          </a:p>
        </p:txBody>
      </p:sp>
      <p:sp>
        <p:nvSpPr>
          <p:cNvPr id="4" name="Slide Number Placeholder 3">
            <a:extLst>
              <a:ext uri="{FF2B5EF4-FFF2-40B4-BE49-F238E27FC236}">
                <a16:creationId xmlns:a16="http://schemas.microsoft.com/office/drawing/2014/main" id="{C33F74E2-A0BC-D285-7888-D5D8833C8504}"/>
              </a:ext>
            </a:extLst>
          </p:cNvPr>
          <p:cNvSpPr>
            <a:spLocks noGrp="1"/>
          </p:cNvSpPr>
          <p:nvPr>
            <p:ph type="sldNum" sz="quarter" idx="5"/>
          </p:nvPr>
        </p:nvSpPr>
        <p:spPr/>
        <p:txBody>
          <a:bodyPr/>
          <a:lstStyle/>
          <a:p>
            <a:fld id="{A2D206B4-D7FF-F742-9988-8286DC6B11DB}" type="slidenum">
              <a:rPr lang="en-US" smtClean="0"/>
              <a:pPr/>
              <a:t>12</a:t>
            </a:fld>
            <a:endParaRPr lang="en-US"/>
          </a:p>
        </p:txBody>
      </p:sp>
    </p:spTree>
    <p:extLst>
      <p:ext uri="{BB962C8B-B14F-4D97-AF65-F5344CB8AC3E}">
        <p14:creationId xmlns:p14="http://schemas.microsoft.com/office/powerpoint/2010/main" val="29606774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5"/>
          </p:nvPr>
        </p:nvSpPr>
        <p:spPr/>
        <p:txBody>
          <a:bodyPr/>
          <a:lstStyle/>
          <a:p>
            <a:fld id="{A2D206B4-D7FF-F742-9988-8286DC6B11DB}" type="slidenum">
              <a:rPr lang="en-US" smtClean="0"/>
              <a:pPr/>
              <a:t>13</a:t>
            </a:fld>
            <a:endParaRPr lang="en-US"/>
          </a:p>
        </p:txBody>
      </p:sp>
    </p:spTree>
    <p:extLst>
      <p:ext uri="{BB962C8B-B14F-4D97-AF65-F5344CB8AC3E}">
        <p14:creationId xmlns:p14="http://schemas.microsoft.com/office/powerpoint/2010/main" val="18180860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5"/>
          </p:nvPr>
        </p:nvSpPr>
        <p:spPr/>
        <p:txBody>
          <a:bodyPr/>
          <a:lstStyle/>
          <a:p>
            <a:fld id="{A2D206B4-D7FF-F742-9988-8286DC6B11DB}" type="slidenum">
              <a:rPr lang="en-US" smtClean="0"/>
              <a:pPr/>
              <a:t>15</a:t>
            </a:fld>
            <a:endParaRPr lang="en-US"/>
          </a:p>
        </p:txBody>
      </p:sp>
    </p:spTree>
    <p:extLst>
      <p:ext uri="{BB962C8B-B14F-4D97-AF65-F5344CB8AC3E}">
        <p14:creationId xmlns:p14="http://schemas.microsoft.com/office/powerpoint/2010/main" val="21497305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From our public troubleshooting script TapeDiagCollector.ps1</a:t>
            </a:r>
          </a:p>
          <a:p>
            <a:pPr marL="171450" indent="-171450">
              <a:buFontTx/>
              <a:buChar char="-"/>
            </a:pPr>
            <a:r>
              <a:rPr lang="en-US"/>
              <a:t>It’s unclear when to use Extended vs All logs</a:t>
            </a:r>
          </a:p>
          <a:p>
            <a:pPr marL="171450" indent="-171450">
              <a:buFontTx/>
              <a:buChar char="-"/>
            </a:pPr>
            <a:r>
              <a:rPr lang="en-US"/>
              <a:t>Handling for the switches requires switch or if/then statements to validate user intention</a:t>
            </a:r>
          </a:p>
          <a:p>
            <a:pPr marL="171450" indent="-171450">
              <a:buFontTx/>
              <a:buChar char="-"/>
            </a:pPr>
            <a:r>
              <a:rPr lang="en-US"/>
              <a:t>We need to ensure the </a:t>
            </a:r>
            <a:r>
              <a:rPr lang="en-US" err="1"/>
              <a:t>ExportPath</a:t>
            </a:r>
            <a:r>
              <a:rPr lang="en-US"/>
              <a:t> exists, we can write to it, and also ensure whatever we write doesn’t already exist</a:t>
            </a:r>
          </a:p>
        </p:txBody>
      </p:sp>
      <p:sp>
        <p:nvSpPr>
          <p:cNvPr id="4" name="Slide Number Placeholder 3"/>
          <p:cNvSpPr>
            <a:spLocks noGrp="1"/>
          </p:cNvSpPr>
          <p:nvPr>
            <p:ph type="sldNum" sz="quarter" idx="5"/>
          </p:nvPr>
        </p:nvSpPr>
        <p:spPr/>
        <p:txBody>
          <a:bodyPr/>
          <a:lstStyle/>
          <a:p>
            <a:fld id="{A2D206B4-D7FF-F742-9988-8286DC6B11DB}" type="slidenum">
              <a:rPr lang="en-US" smtClean="0"/>
              <a:pPr/>
              <a:t>16</a:t>
            </a:fld>
            <a:endParaRPr lang="en-US"/>
          </a:p>
        </p:txBody>
      </p:sp>
    </p:spTree>
    <p:extLst>
      <p:ext uri="{BB962C8B-B14F-4D97-AF65-F5344CB8AC3E}">
        <p14:creationId xmlns:p14="http://schemas.microsoft.com/office/powerpoint/2010/main" val="25564598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Too many parameters, users will be reading the README doc for eternity and likely still will not understand what to do and when</a:t>
            </a:r>
          </a:p>
          <a:p>
            <a:pPr marL="171450" indent="-171450">
              <a:buFontTx/>
              <a:buChar char="-"/>
            </a:pPr>
            <a:r>
              <a:rPr lang="en-US"/>
              <a:t>Many overlapping parameters, doubling the work users and maintainers need to use/fix the script</a:t>
            </a:r>
          </a:p>
          <a:p>
            <a:pPr marL="171450" indent="-171450">
              <a:buFontTx/>
              <a:buChar char="-"/>
            </a:pPr>
            <a:r>
              <a:rPr lang="en-US"/>
              <a:t>Typos and poor parameter names (avoid questions)</a:t>
            </a:r>
          </a:p>
          <a:p>
            <a:pPr marL="171450" indent="-171450">
              <a:buFontTx/>
              <a:buChar char="-"/>
            </a:pPr>
            <a:r>
              <a:rPr lang="en-US"/>
              <a:t>Many parameters are “tacked on”, features implemented without considering what the script should do or what actually using it looks like</a:t>
            </a:r>
          </a:p>
        </p:txBody>
      </p:sp>
      <p:sp>
        <p:nvSpPr>
          <p:cNvPr id="4" name="Slide Number Placeholder 3"/>
          <p:cNvSpPr>
            <a:spLocks noGrp="1"/>
          </p:cNvSpPr>
          <p:nvPr>
            <p:ph type="sldNum" sz="quarter" idx="5"/>
          </p:nvPr>
        </p:nvSpPr>
        <p:spPr/>
        <p:txBody>
          <a:bodyPr/>
          <a:lstStyle/>
          <a:p>
            <a:fld id="{A2D206B4-D7FF-F742-9988-8286DC6B11DB}" type="slidenum">
              <a:rPr lang="en-US" smtClean="0"/>
              <a:pPr/>
              <a:t>17</a:t>
            </a:fld>
            <a:endParaRPr lang="en-US"/>
          </a:p>
        </p:txBody>
      </p:sp>
    </p:spTree>
    <p:extLst>
      <p:ext uri="{BB962C8B-B14F-4D97-AF65-F5344CB8AC3E}">
        <p14:creationId xmlns:p14="http://schemas.microsoft.com/office/powerpoint/2010/main" val="38890611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Reduced options overall</a:t>
            </a:r>
          </a:p>
          <a:p>
            <a:pPr marL="171450" indent="-171450">
              <a:buFontTx/>
              <a:buChar char="-"/>
            </a:pPr>
            <a:r>
              <a:rPr lang="en-US"/>
              <a:t>Consolidated options that were of similar function, reducing the “choice </a:t>
            </a:r>
            <a:r>
              <a:rPr lang="en-US" err="1"/>
              <a:t>panick</a:t>
            </a:r>
            <a:r>
              <a:rPr lang="en-US"/>
              <a:t>” and less for us to document</a:t>
            </a:r>
          </a:p>
          <a:p>
            <a:pPr marL="171450" indent="-171450">
              <a:buFontTx/>
              <a:buChar char="-"/>
            </a:pPr>
            <a:r>
              <a:rPr lang="en-US"/>
              <a:t>Parameter names were updated to be more specific and give the user some idea of what they’re doing</a:t>
            </a:r>
          </a:p>
          <a:p>
            <a:pPr marL="171450" indent="-171450">
              <a:buFontTx/>
              <a:buChar char="-"/>
            </a:pPr>
            <a:r>
              <a:rPr lang="en-US"/>
              <a:t>By moving our presets into a validate set, we save ourselves the trouble of writing lots of IF/THENs, and can just use a SWITCH statement to determine the time range based on </a:t>
            </a:r>
            <a:r>
              <a:rPr lang="en-US" err="1"/>
              <a:t>TimeScope</a:t>
            </a:r>
            <a:endParaRPr lang="ru-RU"/>
          </a:p>
        </p:txBody>
      </p:sp>
      <p:sp>
        <p:nvSpPr>
          <p:cNvPr id="4" name="Slide Number Placeholder 3"/>
          <p:cNvSpPr>
            <a:spLocks noGrp="1"/>
          </p:cNvSpPr>
          <p:nvPr>
            <p:ph type="sldNum" sz="quarter" idx="5"/>
          </p:nvPr>
        </p:nvSpPr>
        <p:spPr/>
        <p:txBody>
          <a:bodyPr/>
          <a:lstStyle/>
          <a:p>
            <a:fld id="{A2D206B4-D7FF-F742-9988-8286DC6B11DB}" type="slidenum">
              <a:rPr lang="en-US" smtClean="0"/>
              <a:pPr/>
              <a:t>18</a:t>
            </a:fld>
            <a:endParaRPr lang="en-US"/>
          </a:p>
        </p:txBody>
      </p:sp>
    </p:spTree>
    <p:extLst>
      <p:ext uri="{BB962C8B-B14F-4D97-AF65-F5344CB8AC3E}">
        <p14:creationId xmlns:p14="http://schemas.microsoft.com/office/powerpoint/2010/main" val="7848537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While useful in some cases, overkill for most scripts and functions</a:t>
            </a:r>
          </a:p>
          <a:p>
            <a:pPr marL="171450" indent="-171450">
              <a:buFontTx/>
              <a:buChar char="-"/>
            </a:pPr>
            <a:r>
              <a:rPr lang="en-US"/>
              <a:t>Very restrictive, and the error handling is not great</a:t>
            </a:r>
          </a:p>
          <a:p>
            <a:pPr marL="171450" indent="-171450">
              <a:buFontTx/>
              <a:buChar char="-"/>
            </a:pPr>
            <a:r>
              <a:rPr lang="en-US"/>
              <a:t>Mandatory parameters are forced if the user does not provide it, but often cannot be meaningfully entered as many parameters require objects, which cannot be passed at this stage</a:t>
            </a:r>
          </a:p>
          <a:p>
            <a:pPr marL="171450" indent="-171450">
              <a:buFontTx/>
              <a:buChar char="-"/>
            </a:pPr>
            <a:r>
              <a:rPr lang="en-US" err="1"/>
              <a:t>Powershell</a:t>
            </a:r>
            <a:r>
              <a:rPr lang="en-US"/>
              <a:t> by default will try to convert strings to the bound type, so we get ugly type conversion errors</a:t>
            </a:r>
          </a:p>
        </p:txBody>
      </p:sp>
      <p:sp>
        <p:nvSpPr>
          <p:cNvPr id="4" name="Slide Number Placeholder 3"/>
          <p:cNvSpPr>
            <a:spLocks noGrp="1"/>
          </p:cNvSpPr>
          <p:nvPr>
            <p:ph type="sldNum" sz="quarter" idx="5"/>
          </p:nvPr>
        </p:nvSpPr>
        <p:spPr/>
        <p:txBody>
          <a:bodyPr/>
          <a:lstStyle/>
          <a:p>
            <a:fld id="{A2D206B4-D7FF-F742-9988-8286DC6B11DB}" type="slidenum">
              <a:rPr lang="en-US" smtClean="0"/>
              <a:pPr/>
              <a:t>19</a:t>
            </a:fld>
            <a:endParaRPr lang="en-US"/>
          </a:p>
        </p:txBody>
      </p:sp>
    </p:spTree>
    <p:extLst>
      <p:ext uri="{BB962C8B-B14F-4D97-AF65-F5344CB8AC3E}">
        <p14:creationId xmlns:p14="http://schemas.microsoft.com/office/powerpoint/2010/main" val="6498017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Set at start of script so first thing we check is if the parameters are set</a:t>
            </a:r>
          </a:p>
          <a:p>
            <a:pPr marL="171450" indent="-171450">
              <a:buFontTx/>
              <a:buChar char="-"/>
            </a:pPr>
            <a:r>
              <a:rPr lang="en-US"/>
              <a:t>Return the Get-Help with –Example parameter if no parameters are set –AND no arguments are passed</a:t>
            </a:r>
          </a:p>
          <a:p>
            <a:pPr marL="171450" indent="-171450">
              <a:buFontTx/>
              <a:buChar char="-"/>
            </a:pPr>
            <a:r>
              <a:rPr lang="en-US"/>
              <a:t>We need to validate if $</a:t>
            </a:r>
            <a:r>
              <a:rPr lang="en-US" err="1"/>
              <a:t>StartTime</a:t>
            </a:r>
            <a:r>
              <a:rPr lang="en-US"/>
              <a:t> OR $</a:t>
            </a:r>
            <a:r>
              <a:rPr lang="en-US" err="1"/>
              <a:t>EndTime</a:t>
            </a:r>
            <a:r>
              <a:rPr lang="en-US"/>
              <a:t> are not present, and then act on that</a:t>
            </a:r>
          </a:p>
          <a:p>
            <a:pPr marL="171450" indent="-171450">
              <a:buFontTx/>
              <a:buChar char="-"/>
            </a:pPr>
            <a:r>
              <a:rPr lang="en-US"/>
              <a:t>This is much nicer as we can tell the user more about what they need to do rather than hope that they read it in the text </a:t>
            </a:r>
            <a:r>
              <a:rPr lang="en-US" err="1"/>
              <a:t>powershell</a:t>
            </a:r>
            <a:r>
              <a:rPr lang="en-US"/>
              <a:t> dumps on errors/with parameter handling</a:t>
            </a:r>
            <a:endParaRPr lang="ru-RU"/>
          </a:p>
        </p:txBody>
      </p:sp>
      <p:sp>
        <p:nvSpPr>
          <p:cNvPr id="4" name="Slide Number Placeholder 3"/>
          <p:cNvSpPr>
            <a:spLocks noGrp="1"/>
          </p:cNvSpPr>
          <p:nvPr>
            <p:ph type="sldNum" sz="quarter" idx="5"/>
          </p:nvPr>
        </p:nvSpPr>
        <p:spPr/>
        <p:txBody>
          <a:bodyPr/>
          <a:lstStyle/>
          <a:p>
            <a:fld id="{A2D206B4-D7FF-F742-9988-8286DC6B11DB}" type="slidenum">
              <a:rPr lang="en-US" smtClean="0"/>
              <a:pPr/>
              <a:t>20</a:t>
            </a:fld>
            <a:endParaRPr lang="en-US"/>
          </a:p>
        </p:txBody>
      </p:sp>
    </p:spTree>
    <p:extLst>
      <p:ext uri="{BB962C8B-B14F-4D97-AF65-F5344CB8AC3E}">
        <p14:creationId xmlns:p14="http://schemas.microsoft.com/office/powerpoint/2010/main" val="34214712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Can define instructions/examples for each parameter</a:t>
            </a:r>
          </a:p>
          <a:p>
            <a:pPr marL="171450" indent="-171450">
              <a:buFontTx/>
              <a:buChar char="-"/>
            </a:pPr>
            <a:r>
              <a:rPr lang="en-US"/>
              <a:t>Provide Synopsis including syntax examples</a:t>
            </a:r>
          </a:p>
          <a:p>
            <a:pPr marL="171450" indent="-171450">
              <a:buFontTx/>
              <a:buChar char="-"/>
            </a:pPr>
            <a:r>
              <a:rPr lang="en-US"/>
              <a:t>Syntax is automatically generated from your parameters </a:t>
            </a:r>
            <a:r>
              <a:rPr lang="en-US">
                <a:solidFill>
                  <a:srgbClr val="ED2B3D"/>
                </a:solidFill>
              </a:rPr>
              <a:t>(Discuss parameter sets and dynamic parameters on next slide)</a:t>
            </a:r>
          </a:p>
          <a:p>
            <a:pPr marL="171450" indent="-171450">
              <a:buFontTx/>
              <a:buChar char="-"/>
            </a:pPr>
            <a:r>
              <a:rPr lang="en-US">
                <a:solidFill>
                  <a:srgbClr val="ED2B3D"/>
                </a:solidFill>
              </a:rPr>
              <a:t>Can be part of a function OR at the start of a Script</a:t>
            </a:r>
          </a:p>
          <a:p>
            <a:pPr marL="171450" indent="-171450">
              <a:buFontTx/>
              <a:buChar char="-"/>
            </a:pPr>
            <a:r>
              <a:rPr lang="en-US">
                <a:solidFill>
                  <a:srgbClr val="ED2B3D"/>
                </a:solidFill>
              </a:rPr>
              <a:t>Must be first entry in the script or the last entry. Pick ONE</a:t>
            </a:r>
          </a:p>
          <a:p>
            <a:pPr marL="171450" indent="-171450">
              <a:buFontTx/>
              <a:buChar char="-"/>
            </a:pPr>
            <a:r>
              <a:rPr lang="en-US">
                <a:solidFill>
                  <a:srgbClr val="ED2B3D"/>
                </a:solidFill>
              </a:rPr>
              <a:t>If importing namespaces into the document (using the USING keyword), place the Help at the end of the document, or at the </a:t>
            </a:r>
            <a:r>
              <a:rPr lang="en-US" err="1">
                <a:solidFill>
                  <a:srgbClr val="ED2B3D"/>
                </a:solidFill>
              </a:rPr>
              <a:t>begining</a:t>
            </a:r>
            <a:r>
              <a:rPr lang="en-US">
                <a:solidFill>
                  <a:srgbClr val="ED2B3D"/>
                </a:solidFill>
              </a:rPr>
              <a:t>, and first line after the Comment Based Help must be your USING statement(s)</a:t>
            </a:r>
            <a:endParaRPr lang="ru-RU">
              <a:solidFill>
                <a:srgbClr val="ED2B3D"/>
              </a:solidFill>
            </a:endParaRPr>
          </a:p>
        </p:txBody>
      </p:sp>
      <p:sp>
        <p:nvSpPr>
          <p:cNvPr id="4" name="Slide Number Placeholder 3"/>
          <p:cNvSpPr>
            <a:spLocks noGrp="1"/>
          </p:cNvSpPr>
          <p:nvPr>
            <p:ph type="sldNum" sz="quarter" idx="5"/>
          </p:nvPr>
        </p:nvSpPr>
        <p:spPr/>
        <p:txBody>
          <a:bodyPr/>
          <a:lstStyle/>
          <a:p>
            <a:fld id="{A2D206B4-D7FF-F742-9988-8286DC6B11DB}" type="slidenum">
              <a:rPr lang="en-US" smtClean="0"/>
              <a:pPr/>
              <a:t>21</a:t>
            </a:fld>
            <a:endParaRPr lang="en-US"/>
          </a:p>
        </p:txBody>
      </p:sp>
    </p:spTree>
    <p:extLst>
      <p:ext uri="{BB962C8B-B14F-4D97-AF65-F5344CB8AC3E}">
        <p14:creationId xmlns:p14="http://schemas.microsoft.com/office/powerpoint/2010/main" val="32659916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Validating strings is painful, users and the systems you work on will always be more creative than you are</a:t>
            </a:r>
          </a:p>
          <a:p>
            <a:pPr marL="171450" indent="-171450">
              <a:buFontTx/>
              <a:buChar char="-"/>
            </a:pPr>
            <a:r>
              <a:rPr lang="en-US"/>
              <a:t>Many systems “cheat” to get around their character limitations, so what users see is not necessarily what the underlying system has stored</a:t>
            </a:r>
          </a:p>
          <a:p>
            <a:pPr marL="171450" indent="-171450">
              <a:buFontTx/>
              <a:buChar char="-"/>
            </a:pPr>
            <a:r>
              <a:rPr lang="en-US"/>
              <a:t>Whenever possible, parse the information you need out, don’t validate strings (i.e., if you need to get a specific VBR job, think of how specific you can be _besides_ the name. UUIDs, additional properties or fields to parse from (e.g., Description), specific configurations</a:t>
            </a:r>
          </a:p>
          <a:p>
            <a:pPr marL="171450" indent="-171450">
              <a:buFontTx/>
              <a:buChar char="-"/>
            </a:pPr>
            <a:r>
              <a:rPr lang="en-US"/>
              <a:t>Get-</a:t>
            </a:r>
            <a:r>
              <a:rPr lang="en-US" err="1"/>
              <a:t>VBRBackup</a:t>
            </a:r>
            <a:r>
              <a:rPr lang="en-US"/>
              <a:t> and Get-</a:t>
            </a:r>
            <a:r>
              <a:rPr lang="en-US" err="1"/>
              <a:t>VBRComputerBackup</a:t>
            </a:r>
            <a:endParaRPr lang="en-US"/>
          </a:p>
        </p:txBody>
      </p:sp>
      <p:sp>
        <p:nvSpPr>
          <p:cNvPr id="4" name="Slide Number Placeholder 3"/>
          <p:cNvSpPr>
            <a:spLocks noGrp="1"/>
          </p:cNvSpPr>
          <p:nvPr>
            <p:ph type="sldNum" sz="quarter" idx="5"/>
          </p:nvPr>
        </p:nvSpPr>
        <p:spPr/>
        <p:txBody>
          <a:bodyPr/>
          <a:lstStyle/>
          <a:p>
            <a:fld id="{A2D206B4-D7FF-F742-9988-8286DC6B11DB}" type="slidenum">
              <a:rPr lang="en-US" smtClean="0"/>
              <a:pPr/>
              <a:t>22</a:t>
            </a:fld>
            <a:endParaRPr lang="en-US"/>
          </a:p>
        </p:txBody>
      </p:sp>
    </p:spTree>
    <p:extLst>
      <p:ext uri="{BB962C8B-B14F-4D97-AF65-F5344CB8AC3E}">
        <p14:creationId xmlns:p14="http://schemas.microsoft.com/office/powerpoint/2010/main" val="15432080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troduce ourselves and our PowerShell background.</a:t>
            </a:r>
            <a:endParaRPr lang="ru-RU"/>
          </a:p>
        </p:txBody>
      </p:sp>
      <p:sp>
        <p:nvSpPr>
          <p:cNvPr id="4" name="Slide Number Placeholder 3"/>
          <p:cNvSpPr>
            <a:spLocks noGrp="1"/>
          </p:cNvSpPr>
          <p:nvPr>
            <p:ph type="sldNum" sz="quarter" idx="5"/>
          </p:nvPr>
        </p:nvSpPr>
        <p:spPr/>
        <p:txBody>
          <a:bodyPr/>
          <a:lstStyle/>
          <a:p>
            <a:fld id="{A2D206B4-D7FF-F742-9988-8286DC6B11DB}" type="slidenum">
              <a:rPr lang="en-US" smtClean="0"/>
              <a:pPr/>
              <a:t>2</a:t>
            </a:fld>
            <a:endParaRPr lang="en-US"/>
          </a:p>
        </p:txBody>
      </p:sp>
    </p:spTree>
    <p:extLst>
      <p:ext uri="{BB962C8B-B14F-4D97-AF65-F5344CB8AC3E}">
        <p14:creationId xmlns:p14="http://schemas.microsoft.com/office/powerpoint/2010/main" val="2637250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5"/>
          </p:nvPr>
        </p:nvSpPr>
        <p:spPr/>
        <p:txBody>
          <a:bodyPr/>
          <a:lstStyle/>
          <a:p>
            <a:fld id="{A2D206B4-D7FF-F742-9988-8286DC6B11DB}" type="slidenum">
              <a:rPr lang="en-US" smtClean="0"/>
              <a:pPr/>
              <a:t>23</a:t>
            </a:fld>
            <a:endParaRPr lang="en-US"/>
          </a:p>
        </p:txBody>
      </p:sp>
    </p:spTree>
    <p:extLst>
      <p:ext uri="{BB962C8B-B14F-4D97-AF65-F5344CB8AC3E}">
        <p14:creationId xmlns:p14="http://schemas.microsoft.com/office/powerpoint/2010/main" val="24354608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5"/>
          </p:nvPr>
        </p:nvSpPr>
        <p:spPr/>
        <p:txBody>
          <a:bodyPr/>
          <a:lstStyle/>
          <a:p>
            <a:fld id="{A2D206B4-D7FF-F742-9988-8286DC6B11DB}" type="slidenum">
              <a:rPr lang="en-US" smtClean="0"/>
              <a:pPr/>
              <a:t>24</a:t>
            </a:fld>
            <a:endParaRPr lang="en-US"/>
          </a:p>
        </p:txBody>
      </p:sp>
    </p:spTree>
    <p:extLst>
      <p:ext uri="{BB962C8B-B14F-4D97-AF65-F5344CB8AC3E}">
        <p14:creationId xmlns:p14="http://schemas.microsoft.com/office/powerpoint/2010/main" val="31213878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Tape </a:t>
            </a:r>
            <a:r>
              <a:rPr lang="en-US" err="1"/>
              <a:t>Diag</a:t>
            </a:r>
            <a:r>
              <a:rPr lang="en-US"/>
              <a:t> Script</a:t>
            </a:r>
          </a:p>
          <a:p>
            <a:pPr marL="171450" indent="-171450">
              <a:buFontTx/>
              <a:buChar char="-"/>
            </a:pPr>
            <a:r>
              <a:rPr lang="en-US"/>
              <a:t>Used by Support tens of thousands of times</a:t>
            </a:r>
          </a:p>
          <a:p>
            <a:pPr marL="171450" indent="-171450">
              <a:buFontTx/>
              <a:buChar char="-"/>
            </a:pPr>
            <a:r>
              <a:rPr lang="en-US"/>
              <a:t>Script history (written because all the commands needed to troubleshoot were never run correctly)</a:t>
            </a:r>
            <a:endParaRPr lang="ru-RU"/>
          </a:p>
        </p:txBody>
      </p:sp>
      <p:sp>
        <p:nvSpPr>
          <p:cNvPr id="4" name="Slide Number Placeholder 3"/>
          <p:cNvSpPr>
            <a:spLocks noGrp="1"/>
          </p:cNvSpPr>
          <p:nvPr>
            <p:ph type="sldNum" sz="quarter" idx="5"/>
          </p:nvPr>
        </p:nvSpPr>
        <p:spPr/>
        <p:txBody>
          <a:bodyPr/>
          <a:lstStyle/>
          <a:p>
            <a:fld id="{A2D206B4-D7FF-F742-9988-8286DC6B11DB}" type="slidenum">
              <a:rPr lang="en-US" smtClean="0"/>
              <a:pPr/>
              <a:t>25</a:t>
            </a:fld>
            <a:endParaRPr lang="en-US"/>
          </a:p>
        </p:txBody>
      </p:sp>
    </p:spTree>
    <p:extLst>
      <p:ext uri="{BB962C8B-B14F-4D97-AF65-F5344CB8AC3E}">
        <p14:creationId xmlns:p14="http://schemas.microsoft.com/office/powerpoint/2010/main" val="8030873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Checks must execute early in the script</a:t>
            </a:r>
          </a:p>
          <a:p>
            <a:pPr marL="171450" indent="-171450">
              <a:buFontTx/>
              <a:buChar char="-"/>
            </a:pPr>
            <a:r>
              <a:rPr lang="en-US"/>
              <a:t>Script variables need to be initialized before they are checked</a:t>
            </a:r>
          </a:p>
          <a:p>
            <a:pPr marL="171450" indent="-171450">
              <a:buFontTx/>
              <a:buChar char="-"/>
            </a:pPr>
            <a:r>
              <a:rPr lang="en-US"/>
              <a:t>$null checks must be done with $null on the left-hand side as per </a:t>
            </a:r>
            <a:r>
              <a:rPr lang="en-US" err="1"/>
              <a:t>powershell</a:t>
            </a:r>
            <a:r>
              <a:rPr lang="en-US"/>
              <a:t> documentation. </a:t>
            </a:r>
            <a:endParaRPr lang="ru-RU"/>
          </a:p>
        </p:txBody>
      </p:sp>
      <p:sp>
        <p:nvSpPr>
          <p:cNvPr id="4" name="Slide Number Placeholder 3"/>
          <p:cNvSpPr>
            <a:spLocks noGrp="1"/>
          </p:cNvSpPr>
          <p:nvPr>
            <p:ph type="sldNum" sz="quarter" idx="5"/>
          </p:nvPr>
        </p:nvSpPr>
        <p:spPr/>
        <p:txBody>
          <a:bodyPr/>
          <a:lstStyle/>
          <a:p>
            <a:fld id="{A2D206B4-D7FF-F742-9988-8286DC6B11DB}" type="slidenum">
              <a:rPr lang="en-US" smtClean="0"/>
              <a:pPr/>
              <a:t>26</a:t>
            </a:fld>
            <a:endParaRPr lang="en-US"/>
          </a:p>
        </p:txBody>
      </p:sp>
    </p:spTree>
    <p:extLst>
      <p:ext uri="{BB962C8B-B14F-4D97-AF65-F5344CB8AC3E}">
        <p14:creationId xmlns:p14="http://schemas.microsoft.com/office/powerpoint/2010/main" val="5665109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Use on major break-points in your script</a:t>
            </a:r>
          </a:p>
          <a:p>
            <a:pPr marL="171450" indent="-171450">
              <a:buFontTx/>
              <a:buChar char="-"/>
            </a:pPr>
            <a:r>
              <a:rPr lang="en-US"/>
              <a:t>Catch statements allow for you to return instructions to users for any exception</a:t>
            </a:r>
          </a:p>
          <a:p>
            <a:pPr marL="171450" indent="-171450">
              <a:buFontTx/>
              <a:buChar char="-"/>
            </a:pPr>
            <a:r>
              <a:rPr lang="en-US"/>
              <a:t>Use anywhere (In loops, in main part of the script, </a:t>
            </a:r>
            <a:r>
              <a:rPr lang="en-US" err="1"/>
              <a:t>etc</a:t>
            </a:r>
            <a:r>
              <a:rPr lang="en-US"/>
              <a:t>)</a:t>
            </a:r>
            <a:endParaRPr lang="ru-RU"/>
          </a:p>
        </p:txBody>
      </p:sp>
      <p:sp>
        <p:nvSpPr>
          <p:cNvPr id="4" name="Slide Number Placeholder 3"/>
          <p:cNvSpPr>
            <a:spLocks noGrp="1"/>
          </p:cNvSpPr>
          <p:nvPr>
            <p:ph type="sldNum" sz="quarter" idx="5"/>
          </p:nvPr>
        </p:nvSpPr>
        <p:spPr/>
        <p:txBody>
          <a:bodyPr/>
          <a:lstStyle/>
          <a:p>
            <a:fld id="{A2D206B4-D7FF-F742-9988-8286DC6B11DB}" type="slidenum">
              <a:rPr lang="en-US" smtClean="0"/>
              <a:pPr/>
              <a:t>27</a:t>
            </a:fld>
            <a:endParaRPr lang="en-US"/>
          </a:p>
        </p:txBody>
      </p:sp>
    </p:spTree>
    <p:extLst>
      <p:ext uri="{BB962C8B-B14F-4D97-AF65-F5344CB8AC3E}">
        <p14:creationId xmlns:p14="http://schemas.microsoft.com/office/powerpoint/2010/main" val="10728963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error is special array of all errors in the current </a:t>
            </a:r>
            <a:r>
              <a:rPr lang="en-US" err="1"/>
              <a:t>powershell</a:t>
            </a:r>
            <a:r>
              <a:rPr lang="en-US"/>
              <a:t> session</a:t>
            </a:r>
          </a:p>
          <a:p>
            <a:pPr marL="171450" indent="-171450">
              <a:buFontTx/>
              <a:buChar char="-"/>
            </a:pPr>
            <a:r>
              <a:rPr lang="en-US"/>
              <a:t>Most recent error is always at position 0</a:t>
            </a:r>
          </a:p>
          <a:p>
            <a:pPr marL="171450" indent="-171450">
              <a:buFontTx/>
              <a:buChar char="-"/>
            </a:pPr>
            <a:r>
              <a:rPr lang="en-US"/>
              <a:t>.NET Stack Traces, full error message, many useful properties available</a:t>
            </a:r>
          </a:p>
          <a:p>
            <a:pPr marL="171450" indent="-171450">
              <a:buFontTx/>
              <a:buChar char="-"/>
            </a:pPr>
            <a:r>
              <a:rPr lang="en-US"/>
              <a:t>Make sure log-path exists (print for user when starting if you will be logging)</a:t>
            </a:r>
          </a:p>
          <a:p>
            <a:pPr marL="171450" indent="-171450">
              <a:buFontTx/>
              <a:buChar char="-"/>
            </a:pPr>
            <a:r>
              <a:rPr lang="en-US"/>
              <a:t>Log when it makes sense – if you iterate over a large amount of items in an array (</a:t>
            </a:r>
            <a:r>
              <a:rPr lang="en-US" err="1"/>
              <a:t>ForEach</a:t>
            </a:r>
            <a:r>
              <a:rPr lang="en-US"/>
              <a:t> loop), Try/Catch each iteration of the loop and write exceptions and successes (limit amount of info for success)</a:t>
            </a:r>
            <a:endParaRPr lang="ru-RU"/>
          </a:p>
        </p:txBody>
      </p:sp>
      <p:sp>
        <p:nvSpPr>
          <p:cNvPr id="4" name="Slide Number Placeholder 3"/>
          <p:cNvSpPr>
            <a:spLocks noGrp="1"/>
          </p:cNvSpPr>
          <p:nvPr>
            <p:ph type="sldNum" sz="quarter" idx="5"/>
          </p:nvPr>
        </p:nvSpPr>
        <p:spPr/>
        <p:txBody>
          <a:bodyPr/>
          <a:lstStyle/>
          <a:p>
            <a:fld id="{A2D206B4-D7FF-F742-9988-8286DC6B11DB}" type="slidenum">
              <a:rPr lang="en-US" smtClean="0"/>
              <a:pPr/>
              <a:t>28</a:t>
            </a:fld>
            <a:endParaRPr lang="en-US"/>
          </a:p>
        </p:txBody>
      </p:sp>
    </p:spTree>
    <p:extLst>
      <p:ext uri="{BB962C8B-B14F-4D97-AF65-F5344CB8AC3E}">
        <p14:creationId xmlns:p14="http://schemas.microsoft.com/office/powerpoint/2010/main" val="42305427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Functions should do one task and one task only in most virtually all cases</a:t>
            </a:r>
          </a:p>
          <a:p>
            <a:pPr marL="171450" indent="-171450">
              <a:buFontTx/>
              <a:buChar char="-"/>
            </a:pPr>
            <a:r>
              <a:rPr lang="en-US"/>
              <a:t>Avoid huge code blocks with variations of the same code – make parameters for your function instead</a:t>
            </a:r>
          </a:p>
          <a:p>
            <a:pPr marL="171450" indent="-171450">
              <a:buFontTx/>
              <a:buChar char="-"/>
            </a:pPr>
            <a:r>
              <a:rPr lang="en-US"/>
              <a:t>Set functions aside in the script to allow for easy updating</a:t>
            </a:r>
          </a:p>
          <a:p>
            <a:pPr marL="171450" indent="-171450">
              <a:buFontTx/>
              <a:buChar char="-"/>
            </a:pPr>
            <a:r>
              <a:rPr lang="en-US"/>
              <a:t>With Veeam, treat Veeam cmdlets like endpoints – you should build functions out to populate the parameters in a way that is sensible for you</a:t>
            </a:r>
          </a:p>
          <a:p>
            <a:pPr marL="628650" lvl="1" indent="-171450">
              <a:buFontTx/>
              <a:buChar char="-"/>
            </a:pPr>
            <a:r>
              <a:rPr lang="en-US" err="1"/>
              <a:t>E.g</a:t>
            </a:r>
            <a:r>
              <a:rPr lang="en-US"/>
              <a:t> – build a restore factory that asks the necessary questions or offers pre-built scenarios</a:t>
            </a:r>
          </a:p>
          <a:p>
            <a:pPr marL="628650" lvl="1" indent="-171450">
              <a:buFontTx/>
              <a:buChar char="-"/>
            </a:pPr>
            <a:r>
              <a:rPr lang="en-US"/>
              <a:t>Answer Files are not a bad idea either</a:t>
            </a:r>
            <a:endParaRPr lang="ru-RU"/>
          </a:p>
        </p:txBody>
      </p:sp>
      <p:sp>
        <p:nvSpPr>
          <p:cNvPr id="4" name="Slide Number Placeholder 3"/>
          <p:cNvSpPr>
            <a:spLocks noGrp="1"/>
          </p:cNvSpPr>
          <p:nvPr>
            <p:ph type="sldNum" sz="quarter" idx="5"/>
          </p:nvPr>
        </p:nvSpPr>
        <p:spPr/>
        <p:txBody>
          <a:bodyPr/>
          <a:lstStyle/>
          <a:p>
            <a:fld id="{A2D206B4-D7FF-F742-9988-8286DC6B11DB}" type="slidenum">
              <a:rPr lang="en-US" smtClean="0"/>
              <a:pPr/>
              <a:t>29</a:t>
            </a:fld>
            <a:endParaRPr lang="en-US"/>
          </a:p>
        </p:txBody>
      </p:sp>
    </p:spTree>
    <p:extLst>
      <p:ext uri="{BB962C8B-B14F-4D97-AF65-F5344CB8AC3E}">
        <p14:creationId xmlns:p14="http://schemas.microsoft.com/office/powerpoint/2010/main" val="40128268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4C3975-A745-9552-9B80-517567A783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1BD3DA-C078-2E0E-0D31-28233B83C1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6A17EF-E048-64DA-597F-AF64D8135674}"/>
              </a:ext>
            </a:extLst>
          </p:cNvPr>
          <p:cNvSpPr>
            <a:spLocks noGrp="1"/>
          </p:cNvSpPr>
          <p:nvPr>
            <p:ph type="body" idx="1"/>
          </p:nvPr>
        </p:nvSpPr>
        <p:spPr/>
        <p:txBody>
          <a:bodyPr/>
          <a:lstStyle/>
          <a:p>
            <a:pPr marL="171450" indent="-171450">
              <a:buFontTx/>
              <a:buChar char="-"/>
            </a:pPr>
            <a:r>
              <a:rPr lang="en-US" dirty="0"/>
              <a:t>Infrastructure as code</a:t>
            </a:r>
          </a:p>
        </p:txBody>
      </p:sp>
      <p:sp>
        <p:nvSpPr>
          <p:cNvPr id="4" name="Slide Number Placeholder 3">
            <a:extLst>
              <a:ext uri="{FF2B5EF4-FFF2-40B4-BE49-F238E27FC236}">
                <a16:creationId xmlns:a16="http://schemas.microsoft.com/office/drawing/2014/main" id="{9E1C29BF-0489-EDD2-CA33-7BAD6C6A6DD6}"/>
              </a:ext>
            </a:extLst>
          </p:cNvPr>
          <p:cNvSpPr>
            <a:spLocks noGrp="1"/>
          </p:cNvSpPr>
          <p:nvPr>
            <p:ph type="sldNum" sz="quarter" idx="5"/>
          </p:nvPr>
        </p:nvSpPr>
        <p:spPr/>
        <p:txBody>
          <a:bodyPr/>
          <a:lstStyle/>
          <a:p>
            <a:fld id="{A2D206B4-D7FF-F742-9988-8286DC6B11DB}" type="slidenum">
              <a:rPr lang="en-US" smtClean="0"/>
              <a:pPr/>
              <a:t>31</a:t>
            </a:fld>
            <a:endParaRPr lang="en-US"/>
          </a:p>
        </p:txBody>
      </p:sp>
    </p:spTree>
    <p:extLst>
      <p:ext uri="{BB962C8B-B14F-4D97-AF65-F5344CB8AC3E}">
        <p14:creationId xmlns:p14="http://schemas.microsoft.com/office/powerpoint/2010/main" val="26092525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BBDE43-29E9-FA6A-F136-B1DD13E61F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9323BB-EDB6-C89E-FC57-2D9BDE20B9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BC75A1-165C-3227-E2C9-285629ADB60C}"/>
              </a:ext>
            </a:extLst>
          </p:cNvPr>
          <p:cNvSpPr>
            <a:spLocks noGrp="1"/>
          </p:cNvSpPr>
          <p:nvPr>
            <p:ph type="body" idx="1"/>
          </p:nvPr>
        </p:nvSpPr>
        <p:spPr/>
        <p:txBody>
          <a:bodyPr/>
          <a:lstStyle/>
          <a:p>
            <a:pPr marL="171450" indent="-171450">
              <a:buFontTx/>
              <a:buChar char="-"/>
            </a:pPr>
            <a:endParaRPr lang="en-US"/>
          </a:p>
        </p:txBody>
      </p:sp>
      <p:sp>
        <p:nvSpPr>
          <p:cNvPr id="4" name="Slide Number Placeholder 3">
            <a:extLst>
              <a:ext uri="{FF2B5EF4-FFF2-40B4-BE49-F238E27FC236}">
                <a16:creationId xmlns:a16="http://schemas.microsoft.com/office/drawing/2014/main" id="{2DD4F463-A1D1-966B-AA4B-34916F31F9B7}"/>
              </a:ext>
            </a:extLst>
          </p:cNvPr>
          <p:cNvSpPr>
            <a:spLocks noGrp="1"/>
          </p:cNvSpPr>
          <p:nvPr>
            <p:ph type="sldNum" sz="quarter" idx="5"/>
          </p:nvPr>
        </p:nvSpPr>
        <p:spPr/>
        <p:txBody>
          <a:bodyPr/>
          <a:lstStyle/>
          <a:p>
            <a:fld id="{A2D206B4-D7FF-F742-9988-8286DC6B11DB}" type="slidenum">
              <a:rPr lang="en-US" smtClean="0"/>
              <a:pPr/>
              <a:t>32</a:t>
            </a:fld>
            <a:endParaRPr lang="en-US"/>
          </a:p>
        </p:txBody>
      </p:sp>
    </p:spTree>
    <p:extLst>
      <p:ext uri="{BB962C8B-B14F-4D97-AF65-F5344CB8AC3E}">
        <p14:creationId xmlns:p14="http://schemas.microsoft.com/office/powerpoint/2010/main" val="14925386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BCBA25-8560-30CD-52F7-B7B7930CE8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9B9037-E5F9-EB7D-88F2-59777C774C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9B39B-7CFD-0E10-0830-325710477B69}"/>
              </a:ext>
            </a:extLst>
          </p:cNvPr>
          <p:cNvSpPr>
            <a:spLocks noGrp="1"/>
          </p:cNvSpPr>
          <p:nvPr>
            <p:ph type="body" idx="1"/>
          </p:nvPr>
        </p:nvSpPr>
        <p:spPr/>
        <p:txBody>
          <a:bodyPr/>
          <a:lstStyle/>
          <a:p>
            <a:pPr marL="171450" indent="-171450">
              <a:buFontTx/>
              <a:buChar char="-"/>
            </a:pPr>
            <a:endParaRPr lang="en-US"/>
          </a:p>
        </p:txBody>
      </p:sp>
      <p:sp>
        <p:nvSpPr>
          <p:cNvPr id="4" name="Slide Number Placeholder 3">
            <a:extLst>
              <a:ext uri="{FF2B5EF4-FFF2-40B4-BE49-F238E27FC236}">
                <a16:creationId xmlns:a16="http://schemas.microsoft.com/office/drawing/2014/main" id="{FF74CBAC-AE17-2D40-A21A-B62029C953AB}"/>
              </a:ext>
            </a:extLst>
          </p:cNvPr>
          <p:cNvSpPr>
            <a:spLocks noGrp="1"/>
          </p:cNvSpPr>
          <p:nvPr>
            <p:ph type="sldNum" sz="quarter" idx="5"/>
          </p:nvPr>
        </p:nvSpPr>
        <p:spPr/>
        <p:txBody>
          <a:bodyPr/>
          <a:lstStyle/>
          <a:p>
            <a:fld id="{A2D206B4-D7FF-F742-9988-8286DC6B11DB}" type="slidenum">
              <a:rPr lang="en-US" smtClean="0"/>
              <a:pPr/>
              <a:t>33</a:t>
            </a:fld>
            <a:endParaRPr lang="en-US"/>
          </a:p>
        </p:txBody>
      </p:sp>
    </p:spTree>
    <p:extLst>
      <p:ext uri="{BB962C8B-B14F-4D97-AF65-F5344CB8AC3E}">
        <p14:creationId xmlns:p14="http://schemas.microsoft.com/office/powerpoint/2010/main" val="16912532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5"/>
          </p:nvPr>
        </p:nvSpPr>
        <p:spPr/>
        <p:txBody>
          <a:bodyPr/>
          <a:lstStyle/>
          <a:p>
            <a:fld id="{A2D206B4-D7FF-F742-9988-8286DC6B11DB}" type="slidenum">
              <a:rPr lang="en-US" smtClean="0"/>
              <a:pPr/>
              <a:t>3</a:t>
            </a:fld>
            <a:endParaRPr lang="en-US"/>
          </a:p>
        </p:txBody>
      </p:sp>
    </p:spTree>
    <p:extLst>
      <p:ext uri="{BB962C8B-B14F-4D97-AF65-F5344CB8AC3E}">
        <p14:creationId xmlns:p14="http://schemas.microsoft.com/office/powerpoint/2010/main" val="34750024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5"/>
          </p:nvPr>
        </p:nvSpPr>
        <p:spPr/>
        <p:txBody>
          <a:bodyPr/>
          <a:lstStyle/>
          <a:p>
            <a:fld id="{A2D206B4-D7FF-F742-9988-8286DC6B11DB}" type="slidenum">
              <a:rPr lang="en-US" smtClean="0"/>
              <a:pPr/>
              <a:t>4</a:t>
            </a:fld>
            <a:endParaRPr lang="en-US"/>
          </a:p>
        </p:txBody>
      </p:sp>
    </p:spTree>
    <p:extLst>
      <p:ext uri="{BB962C8B-B14F-4D97-AF65-F5344CB8AC3E}">
        <p14:creationId xmlns:p14="http://schemas.microsoft.com/office/powerpoint/2010/main" val="25767917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D206B4-D7FF-F742-9988-8286DC6B11DB}" type="slidenum">
              <a:rPr lang="en-US" smtClean="0"/>
              <a:pPr/>
              <a:t>5</a:t>
            </a:fld>
            <a:endParaRPr lang="en-US"/>
          </a:p>
        </p:txBody>
      </p:sp>
    </p:spTree>
    <p:extLst>
      <p:ext uri="{BB962C8B-B14F-4D97-AF65-F5344CB8AC3E}">
        <p14:creationId xmlns:p14="http://schemas.microsoft.com/office/powerpoint/2010/main" val="22481697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629E9A-BC10-4356-AC4F-92666BC114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640C9E-F373-86B7-E4A5-384C449D9A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9D46B2-9E99-7905-1E1E-E1DF30861A40}"/>
              </a:ext>
            </a:extLst>
          </p:cNvPr>
          <p:cNvSpPr>
            <a:spLocks noGrp="1"/>
          </p:cNvSpPr>
          <p:nvPr>
            <p:ph type="body" idx="1"/>
          </p:nvPr>
        </p:nvSpPr>
        <p:spPr/>
        <p:txBody>
          <a:bodyPr/>
          <a:lstStyle/>
          <a:p>
            <a:pPr marL="171450" indent="-171450">
              <a:buFontTx/>
              <a:buChar char="-"/>
            </a:pPr>
            <a:r>
              <a:rPr lang="en-US"/>
              <a:t>PowerShell discovery tool</a:t>
            </a:r>
          </a:p>
          <a:p>
            <a:pPr marL="171450" indent="-171450">
              <a:buFontTx/>
              <a:buChar char="-"/>
            </a:pPr>
            <a:r>
              <a:rPr lang="en-US"/>
              <a:t>Methods to retrieve additional data can be highly useful</a:t>
            </a:r>
          </a:p>
          <a:p>
            <a:pPr marL="171450" indent="-171450">
              <a:buFontTx/>
              <a:buChar char="-"/>
            </a:pPr>
            <a:r>
              <a:rPr lang="en-US"/>
              <a:t>While possible, I do not recommend using methods to make changes. Especially in a production environment.</a:t>
            </a:r>
          </a:p>
        </p:txBody>
      </p:sp>
      <p:sp>
        <p:nvSpPr>
          <p:cNvPr id="4" name="Slide Number Placeholder 3">
            <a:extLst>
              <a:ext uri="{FF2B5EF4-FFF2-40B4-BE49-F238E27FC236}">
                <a16:creationId xmlns:a16="http://schemas.microsoft.com/office/drawing/2014/main" id="{66D984F2-2B1F-038D-727E-AA82A6D2EB5D}"/>
              </a:ext>
            </a:extLst>
          </p:cNvPr>
          <p:cNvSpPr>
            <a:spLocks noGrp="1"/>
          </p:cNvSpPr>
          <p:nvPr>
            <p:ph type="sldNum" sz="quarter" idx="5"/>
          </p:nvPr>
        </p:nvSpPr>
        <p:spPr/>
        <p:txBody>
          <a:bodyPr/>
          <a:lstStyle/>
          <a:p>
            <a:fld id="{A2D206B4-D7FF-F742-9988-8286DC6B11DB}" type="slidenum">
              <a:rPr lang="en-US" smtClean="0"/>
              <a:pPr/>
              <a:t>7</a:t>
            </a:fld>
            <a:endParaRPr lang="en-US"/>
          </a:p>
        </p:txBody>
      </p:sp>
    </p:spTree>
    <p:extLst>
      <p:ext uri="{BB962C8B-B14F-4D97-AF65-F5344CB8AC3E}">
        <p14:creationId xmlns:p14="http://schemas.microsoft.com/office/powerpoint/2010/main" val="1860427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0D5CB1-112B-58B8-490A-AF1B671293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A457AF-9A18-C4A7-7C44-039DDED2C4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F05377-F71D-EB9A-9C29-FE4D00D869B1}"/>
              </a:ext>
            </a:extLst>
          </p:cNvPr>
          <p:cNvSpPr>
            <a:spLocks noGrp="1"/>
          </p:cNvSpPr>
          <p:nvPr>
            <p:ph type="body" idx="1"/>
          </p:nvPr>
        </p:nvSpPr>
        <p:spPr/>
        <p:txBody>
          <a:bodyPr/>
          <a:lstStyle/>
          <a:p>
            <a:pPr marL="171450" indent="-171450">
              <a:buFontTx/>
              <a:buChar char="-"/>
            </a:pPr>
            <a:endParaRPr lang="en-US"/>
          </a:p>
        </p:txBody>
      </p:sp>
      <p:sp>
        <p:nvSpPr>
          <p:cNvPr id="4" name="Slide Number Placeholder 3">
            <a:extLst>
              <a:ext uri="{FF2B5EF4-FFF2-40B4-BE49-F238E27FC236}">
                <a16:creationId xmlns:a16="http://schemas.microsoft.com/office/drawing/2014/main" id="{693B57FD-0CAD-9691-72F9-8469339262DA}"/>
              </a:ext>
            </a:extLst>
          </p:cNvPr>
          <p:cNvSpPr>
            <a:spLocks noGrp="1"/>
          </p:cNvSpPr>
          <p:nvPr>
            <p:ph type="sldNum" sz="quarter" idx="5"/>
          </p:nvPr>
        </p:nvSpPr>
        <p:spPr/>
        <p:txBody>
          <a:bodyPr/>
          <a:lstStyle/>
          <a:p>
            <a:fld id="{A2D206B4-D7FF-F742-9988-8286DC6B11DB}" type="slidenum">
              <a:rPr lang="en-US" smtClean="0"/>
              <a:pPr/>
              <a:t>8</a:t>
            </a:fld>
            <a:endParaRPr lang="en-US"/>
          </a:p>
        </p:txBody>
      </p:sp>
    </p:spTree>
    <p:extLst>
      <p:ext uri="{BB962C8B-B14F-4D97-AF65-F5344CB8AC3E}">
        <p14:creationId xmlns:p14="http://schemas.microsoft.com/office/powerpoint/2010/main" val="24685901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C6E971-B8C8-0B5F-A8FB-4F8FB988A9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D1A829-FF2E-EA47-6061-E2F34EDB9F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3A721D-E26E-6F84-63FB-0916A5134420}"/>
              </a:ext>
            </a:extLst>
          </p:cNvPr>
          <p:cNvSpPr>
            <a:spLocks noGrp="1"/>
          </p:cNvSpPr>
          <p:nvPr>
            <p:ph type="body" idx="1"/>
          </p:nvPr>
        </p:nvSpPr>
        <p:spPr/>
        <p:txBody>
          <a:bodyPr/>
          <a:lstStyle/>
          <a:p>
            <a:pPr marL="171450" indent="-171450">
              <a:buFontTx/>
              <a:buChar char="-"/>
            </a:pPr>
            <a:endParaRPr lang="en-US"/>
          </a:p>
        </p:txBody>
      </p:sp>
      <p:sp>
        <p:nvSpPr>
          <p:cNvPr id="4" name="Slide Number Placeholder 3">
            <a:extLst>
              <a:ext uri="{FF2B5EF4-FFF2-40B4-BE49-F238E27FC236}">
                <a16:creationId xmlns:a16="http://schemas.microsoft.com/office/drawing/2014/main" id="{EA70E74B-97DF-383B-FA5B-C97598AB1522}"/>
              </a:ext>
            </a:extLst>
          </p:cNvPr>
          <p:cNvSpPr>
            <a:spLocks noGrp="1"/>
          </p:cNvSpPr>
          <p:nvPr>
            <p:ph type="sldNum" sz="quarter" idx="5"/>
          </p:nvPr>
        </p:nvSpPr>
        <p:spPr/>
        <p:txBody>
          <a:bodyPr/>
          <a:lstStyle/>
          <a:p>
            <a:fld id="{A2D206B4-D7FF-F742-9988-8286DC6B11DB}" type="slidenum">
              <a:rPr lang="en-US" smtClean="0"/>
              <a:pPr/>
              <a:t>9</a:t>
            </a:fld>
            <a:endParaRPr lang="en-US"/>
          </a:p>
        </p:txBody>
      </p:sp>
    </p:spTree>
    <p:extLst>
      <p:ext uri="{BB962C8B-B14F-4D97-AF65-F5344CB8AC3E}">
        <p14:creationId xmlns:p14="http://schemas.microsoft.com/office/powerpoint/2010/main" val="6227911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E255EA-D095-48E2-A062-B9B8507F10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51CC5F-BB1E-F809-EBE8-0727F1D9A4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88B24A-2026-E47E-1E37-552C90716223}"/>
              </a:ext>
            </a:extLst>
          </p:cNvPr>
          <p:cNvSpPr>
            <a:spLocks noGrp="1"/>
          </p:cNvSpPr>
          <p:nvPr>
            <p:ph type="body" idx="1"/>
          </p:nvPr>
        </p:nvSpPr>
        <p:spPr/>
        <p:txBody>
          <a:bodyPr/>
          <a:lstStyle/>
          <a:p>
            <a:pPr marL="171450" indent="-171450">
              <a:buFontTx/>
              <a:buChar char="-"/>
            </a:pPr>
            <a:endParaRPr lang="en-US"/>
          </a:p>
        </p:txBody>
      </p:sp>
      <p:sp>
        <p:nvSpPr>
          <p:cNvPr id="4" name="Slide Number Placeholder 3">
            <a:extLst>
              <a:ext uri="{FF2B5EF4-FFF2-40B4-BE49-F238E27FC236}">
                <a16:creationId xmlns:a16="http://schemas.microsoft.com/office/drawing/2014/main" id="{77A9E874-B689-A33E-C9A5-2AA3CEEBA2E3}"/>
              </a:ext>
            </a:extLst>
          </p:cNvPr>
          <p:cNvSpPr>
            <a:spLocks noGrp="1"/>
          </p:cNvSpPr>
          <p:nvPr>
            <p:ph type="sldNum" sz="quarter" idx="5"/>
          </p:nvPr>
        </p:nvSpPr>
        <p:spPr/>
        <p:txBody>
          <a:bodyPr/>
          <a:lstStyle/>
          <a:p>
            <a:fld id="{A2D206B4-D7FF-F742-9988-8286DC6B11DB}" type="slidenum">
              <a:rPr lang="en-US" smtClean="0"/>
              <a:pPr/>
              <a:t>10</a:t>
            </a:fld>
            <a:endParaRPr lang="en-US"/>
          </a:p>
        </p:txBody>
      </p:sp>
    </p:spTree>
    <p:extLst>
      <p:ext uri="{BB962C8B-B14F-4D97-AF65-F5344CB8AC3E}">
        <p14:creationId xmlns:p14="http://schemas.microsoft.com/office/powerpoint/2010/main" val="11768632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8" Type="http://schemas.openxmlformats.org/officeDocument/2006/relationships/hyperlink" Target="https://www.instagram.com/veeam_software/" TargetMode="External"/><Relationship Id="rId13" Type="http://schemas.openxmlformats.org/officeDocument/2006/relationships/image" Target="../media/image26.png"/><Relationship Id="rId3" Type="http://schemas.openxmlformats.org/officeDocument/2006/relationships/image" Target="../media/image2.png"/><Relationship Id="rId7" Type="http://schemas.openxmlformats.org/officeDocument/2006/relationships/hyperlink" Target="https://www.facebook.com/VeeamSoftware/" TargetMode="External"/><Relationship Id="rId12" Type="http://schemas.openxmlformats.org/officeDocument/2006/relationships/hyperlink" Target="https://www.youtube.com/@veeam" TargetMode="External"/><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23.png"/><Relationship Id="rId11" Type="http://schemas.openxmlformats.org/officeDocument/2006/relationships/image" Target="../media/image25.svg"/><Relationship Id="rId5" Type="http://schemas.openxmlformats.org/officeDocument/2006/relationships/hyperlink" Target="https://community.veeam.com/" TargetMode="External"/><Relationship Id="rId15" Type="http://schemas.openxmlformats.org/officeDocument/2006/relationships/image" Target="../media/image27.png"/><Relationship Id="rId10" Type="http://schemas.openxmlformats.org/officeDocument/2006/relationships/image" Target="../media/image24.png"/><Relationship Id="rId4" Type="http://schemas.openxmlformats.org/officeDocument/2006/relationships/image" Target="../media/image3.svg"/><Relationship Id="rId9" Type="http://schemas.openxmlformats.org/officeDocument/2006/relationships/hyperlink" Target="https://twitter.com/Veeam" TargetMode="External"/><Relationship Id="rId14" Type="http://schemas.openxmlformats.org/officeDocument/2006/relationships/hyperlink" Target="https://www.linkedin.com/company/veeam-software/" TargetMode="External"/></Relationships>
</file>

<file path=ppt/slideLayouts/_rels/slideLayout73.xml.rels><?xml version="1.0" encoding="UTF-8" standalone="yes"?>
<Relationships xmlns="http://schemas.openxmlformats.org/package/2006/relationships"><Relationship Id="rId8" Type="http://schemas.openxmlformats.org/officeDocument/2006/relationships/hyperlink" Target="https://www.instagram.com/veeam_software/" TargetMode="External"/><Relationship Id="rId13" Type="http://schemas.openxmlformats.org/officeDocument/2006/relationships/image" Target="../media/image26.png"/><Relationship Id="rId3" Type="http://schemas.openxmlformats.org/officeDocument/2006/relationships/image" Target="../media/image2.png"/><Relationship Id="rId7" Type="http://schemas.openxmlformats.org/officeDocument/2006/relationships/hyperlink" Target="https://www.facebook.com/VeeamSoftware/" TargetMode="External"/><Relationship Id="rId12" Type="http://schemas.openxmlformats.org/officeDocument/2006/relationships/hyperlink" Target="https://www.youtube.com/@veeam"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28.png"/><Relationship Id="rId11" Type="http://schemas.openxmlformats.org/officeDocument/2006/relationships/image" Target="../media/image25.svg"/><Relationship Id="rId5" Type="http://schemas.openxmlformats.org/officeDocument/2006/relationships/hyperlink" Target="https://community.veeam.com/" TargetMode="External"/><Relationship Id="rId15" Type="http://schemas.openxmlformats.org/officeDocument/2006/relationships/image" Target="../media/image27.png"/><Relationship Id="rId10" Type="http://schemas.openxmlformats.org/officeDocument/2006/relationships/image" Target="../media/image24.png"/><Relationship Id="rId4" Type="http://schemas.openxmlformats.org/officeDocument/2006/relationships/image" Target="../media/image3.svg"/><Relationship Id="rId9" Type="http://schemas.openxmlformats.org/officeDocument/2006/relationships/hyperlink" Target="https://twitter.com/Veeam" TargetMode="External"/><Relationship Id="rId14" Type="http://schemas.openxmlformats.org/officeDocument/2006/relationships/hyperlink" Target="https://www.linkedin.com/company/veeam-software/" TargetMode="External"/></Relationships>
</file>

<file path=ppt/slideLayouts/_rels/slideLayout74.xml.rels><?xml version="1.0" encoding="UTF-8" standalone="yes"?>
<Relationships xmlns="http://schemas.openxmlformats.org/package/2006/relationships"><Relationship Id="rId8" Type="http://schemas.openxmlformats.org/officeDocument/2006/relationships/hyperlink" Target="https://www.instagram.com/veeam_software/" TargetMode="External"/><Relationship Id="rId13" Type="http://schemas.openxmlformats.org/officeDocument/2006/relationships/image" Target="../media/image26.png"/><Relationship Id="rId3" Type="http://schemas.openxmlformats.org/officeDocument/2006/relationships/image" Target="../media/image30.png"/><Relationship Id="rId7" Type="http://schemas.openxmlformats.org/officeDocument/2006/relationships/hyperlink" Target="https://www.facebook.com/VeeamSoftware/" TargetMode="External"/><Relationship Id="rId12" Type="http://schemas.openxmlformats.org/officeDocument/2006/relationships/hyperlink" Target="https://www.youtube.com/@veeam" TargetMode="External"/><Relationship Id="rId2" Type="http://schemas.openxmlformats.org/officeDocument/2006/relationships/image" Target="../media/image29.png"/><Relationship Id="rId1" Type="http://schemas.openxmlformats.org/officeDocument/2006/relationships/slideMaster" Target="../slideMasters/slideMaster1.xml"/><Relationship Id="rId6" Type="http://schemas.openxmlformats.org/officeDocument/2006/relationships/image" Target="../media/image23.png"/><Relationship Id="rId11" Type="http://schemas.openxmlformats.org/officeDocument/2006/relationships/image" Target="../media/image25.svg"/><Relationship Id="rId5" Type="http://schemas.openxmlformats.org/officeDocument/2006/relationships/hyperlink" Target="https://community.veeam.com/" TargetMode="External"/><Relationship Id="rId15" Type="http://schemas.openxmlformats.org/officeDocument/2006/relationships/image" Target="../media/image27.png"/><Relationship Id="rId10" Type="http://schemas.openxmlformats.org/officeDocument/2006/relationships/image" Target="../media/image24.png"/><Relationship Id="rId4" Type="http://schemas.openxmlformats.org/officeDocument/2006/relationships/image" Target="../media/image31.svg"/><Relationship Id="rId9" Type="http://schemas.openxmlformats.org/officeDocument/2006/relationships/hyperlink" Target="https://twitter.com/Veeam" TargetMode="External"/><Relationship Id="rId14" Type="http://schemas.openxmlformats.org/officeDocument/2006/relationships/hyperlink" Target="https://www.linkedin.com/company/veeam-software/" TargetMode="External"/></Relationships>
</file>

<file path=ppt/slideLayouts/_rels/slideLayout75.xml.rels><?xml version="1.0" encoding="UTF-8" standalone="yes"?>
<Relationships xmlns="http://schemas.openxmlformats.org/package/2006/relationships"><Relationship Id="rId8" Type="http://schemas.openxmlformats.org/officeDocument/2006/relationships/hyperlink" Target="https://www.facebook.com/VeeamSoftware/" TargetMode="External"/><Relationship Id="rId13" Type="http://schemas.openxmlformats.org/officeDocument/2006/relationships/hyperlink" Target="https://www.youtube.com/@veeam" TargetMode="External"/><Relationship Id="rId3" Type="http://schemas.openxmlformats.org/officeDocument/2006/relationships/image" Target="../media/image5.png"/><Relationship Id="rId7" Type="http://schemas.openxmlformats.org/officeDocument/2006/relationships/image" Target="../media/image23.png"/><Relationship Id="rId12" Type="http://schemas.openxmlformats.org/officeDocument/2006/relationships/image" Target="../media/image25.svg"/><Relationship Id="rId2" Type="http://schemas.openxmlformats.org/officeDocument/2006/relationships/slideMaster" Target="../slideMasters/slideMaster1.xml"/><Relationship Id="rId16" Type="http://schemas.openxmlformats.org/officeDocument/2006/relationships/image" Target="../media/image27.png"/><Relationship Id="rId1" Type="http://schemas.openxmlformats.org/officeDocument/2006/relationships/themeOverride" Target="../theme/themeOverride1.xml"/><Relationship Id="rId6" Type="http://schemas.openxmlformats.org/officeDocument/2006/relationships/hyperlink" Target="https://community.veeam.com/" TargetMode="External"/><Relationship Id="rId11" Type="http://schemas.openxmlformats.org/officeDocument/2006/relationships/image" Target="../media/image24.png"/><Relationship Id="rId5" Type="http://schemas.openxmlformats.org/officeDocument/2006/relationships/image" Target="../media/image33.svg"/><Relationship Id="rId15" Type="http://schemas.openxmlformats.org/officeDocument/2006/relationships/hyperlink" Target="https://www.linkedin.com/company/veeam-software/" TargetMode="External"/><Relationship Id="rId10" Type="http://schemas.openxmlformats.org/officeDocument/2006/relationships/hyperlink" Target="https://twitter.com/Veeam" TargetMode="External"/><Relationship Id="rId4" Type="http://schemas.openxmlformats.org/officeDocument/2006/relationships/image" Target="../media/image32.png"/><Relationship Id="rId9" Type="http://schemas.openxmlformats.org/officeDocument/2006/relationships/hyperlink" Target="https://www.instagram.com/veeam_software/" TargetMode="External"/><Relationship Id="rId14" Type="http://schemas.openxmlformats.org/officeDocument/2006/relationships/image" Target="../media/image26.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F2F1153D-CB0F-BB40-3E15-C9DC5D790961}"/>
              </a:ext>
            </a:extLst>
          </p:cNvPr>
          <p:cNvSpPr/>
          <p:nvPr userDrawn="1"/>
        </p:nvSpPr>
        <p:spPr>
          <a:xfrm>
            <a:off x="0" y="-18997"/>
            <a:ext cx="12192000" cy="5865318"/>
          </a:xfrm>
          <a:custGeom>
            <a:avLst/>
            <a:gdLst>
              <a:gd name="connsiteX0" fmla="*/ 0 w 12192000"/>
              <a:gd name="connsiteY0" fmla="*/ 0 h 5865318"/>
              <a:gd name="connsiteX1" fmla="*/ 797535 w 12192000"/>
              <a:gd name="connsiteY1" fmla="*/ 0 h 5865318"/>
              <a:gd name="connsiteX2" fmla="*/ 5613390 w 12192000"/>
              <a:gd name="connsiteY2" fmla="*/ 4815480 h 5865318"/>
              <a:gd name="connsiteX3" fmla="*/ 6578610 w 12192000"/>
              <a:gd name="connsiteY3" fmla="*/ 4815480 h 5865318"/>
              <a:gd name="connsiteX4" fmla="*/ 11261178 w 12192000"/>
              <a:gd name="connsiteY4" fmla="*/ 133278 h 5865318"/>
              <a:gd name="connsiteX5" fmla="*/ 11394466 w 12192000"/>
              <a:gd name="connsiteY5" fmla="*/ 0 h 5865318"/>
              <a:gd name="connsiteX6" fmla="*/ 12192000 w 12192000"/>
              <a:gd name="connsiteY6" fmla="*/ 0 h 5865318"/>
              <a:gd name="connsiteX7" fmla="*/ 12192000 w 12192000"/>
              <a:gd name="connsiteY7" fmla="*/ 4291292 h 5865318"/>
              <a:gd name="connsiteX8" fmla="*/ 12130037 w 12192000"/>
              <a:gd name="connsiteY8" fmla="*/ 4353124 h 5865318"/>
              <a:gd name="connsiteX9" fmla="*/ 11617391 w 12192000"/>
              <a:gd name="connsiteY9" fmla="*/ 4864691 h 5865318"/>
              <a:gd name="connsiteX10" fmla="*/ 9228878 w 12192000"/>
              <a:gd name="connsiteY10" fmla="*/ 5865318 h 5865318"/>
              <a:gd name="connsiteX11" fmla="*/ 2979482 w 12192000"/>
              <a:gd name="connsiteY11" fmla="*/ 5865318 h 5865318"/>
              <a:gd name="connsiteX12" fmla="*/ 574609 w 12192000"/>
              <a:gd name="connsiteY12" fmla="*/ 4864691 h 5865318"/>
              <a:gd name="connsiteX13" fmla="*/ 263974 w 12192000"/>
              <a:gd name="connsiteY13" fmla="*/ 4554710 h 5865318"/>
              <a:gd name="connsiteX14" fmla="*/ 0 w 12192000"/>
              <a:gd name="connsiteY14" fmla="*/ 4291292 h 5865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5865318">
                <a:moveTo>
                  <a:pt x="0" y="0"/>
                </a:moveTo>
                <a:lnTo>
                  <a:pt x="797535" y="0"/>
                </a:lnTo>
                <a:lnTo>
                  <a:pt x="5613390" y="4815480"/>
                </a:lnTo>
                <a:cubicBezTo>
                  <a:pt x="5875144" y="5094344"/>
                  <a:pt x="6316856" y="5094344"/>
                  <a:pt x="6578610" y="4815480"/>
                </a:cubicBezTo>
                <a:cubicBezTo>
                  <a:pt x="8984505" y="2409773"/>
                  <a:pt x="10413006" y="981384"/>
                  <a:pt x="11261178" y="133278"/>
                </a:cubicBezTo>
                <a:lnTo>
                  <a:pt x="11394466" y="0"/>
                </a:lnTo>
                <a:lnTo>
                  <a:pt x="12192000" y="0"/>
                </a:lnTo>
                <a:lnTo>
                  <a:pt x="12192000" y="4291292"/>
                </a:lnTo>
                <a:lnTo>
                  <a:pt x="12130037" y="4353124"/>
                </a:lnTo>
                <a:cubicBezTo>
                  <a:pt x="11617391" y="4864691"/>
                  <a:pt x="11617391" y="4864691"/>
                  <a:pt x="11617391" y="4864691"/>
                </a:cubicBezTo>
                <a:cubicBezTo>
                  <a:pt x="10979364" y="5504436"/>
                  <a:pt x="10112301" y="5865318"/>
                  <a:pt x="9228878" y="5865318"/>
                </a:cubicBezTo>
                <a:cubicBezTo>
                  <a:pt x="2979482" y="5865318"/>
                  <a:pt x="2979482" y="5865318"/>
                  <a:pt x="2979482" y="5865318"/>
                </a:cubicBezTo>
                <a:cubicBezTo>
                  <a:pt x="2079699" y="5865318"/>
                  <a:pt x="1212636" y="5504436"/>
                  <a:pt x="574609" y="4864691"/>
                </a:cubicBezTo>
                <a:cubicBezTo>
                  <a:pt x="467760" y="4758067"/>
                  <a:pt x="364250" y="4654775"/>
                  <a:pt x="263974" y="4554710"/>
                </a:cubicBezTo>
                <a:lnTo>
                  <a:pt x="0" y="4291292"/>
                </a:lnTo>
                <a:close/>
              </a:path>
            </a:pathLst>
          </a:custGeom>
          <a:gradFill flip="none" rotWithShape="1">
            <a:gsLst>
              <a:gs pos="56000">
                <a:srgbClr val="00D05D">
                  <a:lumMod val="60000"/>
                  <a:lumOff val="40000"/>
                  <a:alpha val="9000"/>
                </a:srgbClr>
              </a:gs>
              <a:gs pos="100000">
                <a:srgbClr val="00D05D">
                  <a:lumMod val="60000"/>
                  <a:lumOff val="40000"/>
                </a:srgbClr>
              </a:gs>
            </a:gsLst>
            <a:lin ang="2400000" scaled="0"/>
            <a:tileRect/>
          </a:gradFill>
          <a:ln>
            <a:noFill/>
          </a:ln>
        </p:spPr>
        <p:txBody>
          <a:bodyPr vert="horz" wrap="square" lIns="91440" tIns="45720" rIns="91440" bIns="45720" numCol="1" anchor="t" anchorCtr="0" compatLnSpc="1">
            <a:prstTxWarp prst="textNoShape">
              <a:avLst/>
            </a:prstTxWarp>
            <a:noAutofit/>
          </a:bodyPr>
          <a:lstStyle/>
          <a:p>
            <a:pPr marR="0" lvl="0" indent="0" fontAlgn="auto">
              <a:lnSpc>
                <a:spcPct val="100000"/>
              </a:lnSpc>
              <a:spcBef>
                <a:spcPts val="0"/>
              </a:spcBef>
              <a:spcAft>
                <a:spcPts val="0"/>
              </a:spcAft>
              <a:buClrTx/>
              <a:buSzTx/>
              <a:buFontTx/>
              <a:buNone/>
              <a:tabLst/>
            </a:pPr>
            <a:endParaRPr kumimoji="0" lang="en-US" b="0" i="0" u="none" strike="noStrike" kern="0" cap="none" spc="0" normalizeH="0" baseline="0">
              <a:ln>
                <a:noFill/>
              </a:ln>
              <a:solidFill>
                <a:srgbClr val="4F5860"/>
              </a:solidFill>
              <a:effectLst/>
              <a:uLnTx/>
              <a:uFillTx/>
            </a:endParaRPr>
          </a:p>
        </p:txBody>
      </p:sp>
      <p:sp>
        <p:nvSpPr>
          <p:cNvPr id="6" name="Title 1">
            <a:extLst>
              <a:ext uri="{FF2B5EF4-FFF2-40B4-BE49-F238E27FC236}">
                <a16:creationId xmlns:a16="http://schemas.microsoft.com/office/drawing/2014/main" id="{4CDB086E-9F87-4B33-D62C-A31BB4E5473B}"/>
              </a:ext>
            </a:extLst>
          </p:cNvPr>
          <p:cNvSpPr>
            <a:spLocks noGrp="1"/>
          </p:cNvSpPr>
          <p:nvPr>
            <p:ph type="ctrTitle"/>
          </p:nvPr>
        </p:nvSpPr>
        <p:spPr>
          <a:xfrm>
            <a:off x="793751" y="1731962"/>
            <a:ext cx="10536764" cy="2581299"/>
          </a:xfrm>
        </p:spPr>
        <p:txBody>
          <a:bodyPr anchor="ctr">
            <a:normAutofit/>
          </a:bodyPr>
          <a:lstStyle>
            <a:lvl1pPr algn="l">
              <a:lnSpc>
                <a:spcPct val="85000"/>
              </a:lnSpc>
              <a:defRPr lang="en-US" sz="8900" b="0" i="0" kern="1200" spc="-150" baseline="0" dirty="0">
                <a:solidFill>
                  <a:schemeClr val="accent1"/>
                </a:solidFill>
                <a:latin typeface="ES Build" pitchFamily="2" charset="77"/>
                <a:ea typeface="ES Build" pitchFamily="2" charset="77"/>
                <a:cs typeface="+mj-cs"/>
              </a:defRPr>
            </a:lvl1pPr>
          </a:lstStyle>
          <a:p>
            <a:r>
              <a:rPr lang="en-US"/>
              <a:t>Click to edit Master title style</a:t>
            </a:r>
          </a:p>
        </p:txBody>
      </p:sp>
      <p:sp>
        <p:nvSpPr>
          <p:cNvPr id="8" name="Subtitle 2">
            <a:extLst>
              <a:ext uri="{FF2B5EF4-FFF2-40B4-BE49-F238E27FC236}">
                <a16:creationId xmlns:a16="http://schemas.microsoft.com/office/drawing/2014/main" id="{CF42BD3E-E39E-7A26-D12A-C298830544AD}"/>
              </a:ext>
            </a:extLst>
          </p:cNvPr>
          <p:cNvSpPr>
            <a:spLocks noGrp="1"/>
          </p:cNvSpPr>
          <p:nvPr>
            <p:ph type="subTitle" idx="1"/>
          </p:nvPr>
        </p:nvSpPr>
        <p:spPr>
          <a:xfrm>
            <a:off x="793751" y="4316414"/>
            <a:ext cx="10536764" cy="487705"/>
          </a:xfrm>
        </p:spPr>
        <p:txBody>
          <a:bodyPr/>
          <a:lstStyle>
            <a:lvl1pPr marL="0" indent="0" algn="l">
              <a:buNone/>
              <a:defRPr sz="2400" b="0" i="0">
                <a:solidFill>
                  <a:schemeClr val="accent1"/>
                </a:solidFill>
                <a:latin typeface="ES Build" pitchFamily="2" charset="77"/>
                <a:ea typeface="ES Bui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Footer Placeholder 4">
            <a:extLst>
              <a:ext uri="{FF2B5EF4-FFF2-40B4-BE49-F238E27FC236}">
                <a16:creationId xmlns:a16="http://schemas.microsoft.com/office/drawing/2014/main" id="{0003DDA7-BB6B-1A41-0568-1C5C4CCF8DE8}"/>
              </a:ext>
            </a:extLst>
          </p:cNvPr>
          <p:cNvSpPr>
            <a:spLocks noGrp="1"/>
          </p:cNvSpPr>
          <p:nvPr>
            <p:ph type="ftr" sz="quarter" idx="11"/>
          </p:nvPr>
        </p:nvSpPr>
        <p:spPr>
          <a:xfrm>
            <a:off x="782098" y="6301069"/>
            <a:ext cx="5185316" cy="224341"/>
          </a:xfrm>
          <a:prstGeom prst="rect">
            <a:avLst/>
          </a:prstGeom>
        </p:spPr>
        <p:txBody>
          <a:bodyPr/>
          <a:lstStyle>
            <a:lvl1pPr>
              <a:defRPr>
                <a:solidFill>
                  <a:schemeClr val="accent1"/>
                </a:solidFill>
              </a:defRPr>
            </a:lvl1pPr>
          </a:lstStyle>
          <a:p>
            <a:endParaRPr lang="en-US"/>
          </a:p>
        </p:txBody>
      </p:sp>
      <p:cxnSp>
        <p:nvCxnSpPr>
          <p:cNvPr id="10" name="Straight Connector 9">
            <a:extLst>
              <a:ext uri="{FF2B5EF4-FFF2-40B4-BE49-F238E27FC236}">
                <a16:creationId xmlns:a16="http://schemas.microsoft.com/office/drawing/2014/main" id="{66690116-9B72-3EEE-97F1-4D2A1B6B135C}"/>
              </a:ext>
            </a:extLst>
          </p:cNvPr>
          <p:cNvCxnSpPr>
            <a:cxnSpLocks/>
          </p:cNvCxnSpPr>
          <p:nvPr userDrawn="1"/>
        </p:nvCxnSpPr>
        <p:spPr>
          <a:xfrm>
            <a:off x="782564" y="6167438"/>
            <a:ext cx="10547951" cy="0"/>
          </a:xfrm>
          <a:prstGeom prst="line">
            <a:avLst/>
          </a:prstGeom>
          <a:ln w="19050" cap="sq">
            <a:solidFill>
              <a:schemeClr val="accent1"/>
            </a:solidFill>
            <a:miter lim="800000"/>
            <a:headEnd type="none" w="med" len="sm"/>
            <a:tailEnd type="none" w="sm" len="sm"/>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49F3AE38-4231-B0CE-AB29-418E99AE7528}"/>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82097" y="691400"/>
            <a:ext cx="1351504" cy="419154"/>
          </a:xfrm>
          <a:prstGeom prst="rect">
            <a:avLst/>
          </a:prstGeom>
        </p:spPr>
      </p:pic>
      <p:sp>
        <p:nvSpPr>
          <p:cNvPr id="12" name="Text Placeholder 12">
            <a:extLst>
              <a:ext uri="{FF2B5EF4-FFF2-40B4-BE49-F238E27FC236}">
                <a16:creationId xmlns:a16="http://schemas.microsoft.com/office/drawing/2014/main" id="{FB784AAB-C227-31A8-F220-A60DC51705E5}"/>
              </a:ext>
            </a:extLst>
          </p:cNvPr>
          <p:cNvSpPr>
            <a:spLocks noGrp="1"/>
          </p:cNvSpPr>
          <p:nvPr>
            <p:ph type="body" sz="quarter" idx="13" hasCustomPrompt="1"/>
          </p:nvPr>
        </p:nvSpPr>
        <p:spPr>
          <a:xfrm>
            <a:off x="793751" y="1528837"/>
            <a:ext cx="3276599" cy="274955"/>
          </a:xfrm>
        </p:spPr>
        <p:txBody>
          <a:bodyPr>
            <a:noAutofit/>
          </a:bodyPr>
          <a:lstStyle>
            <a:lvl1pPr marL="0" indent="0">
              <a:buNone/>
              <a:defRPr sz="1600" b="0" spc="0" baseline="0">
                <a:solidFill>
                  <a:schemeClr val="accent1"/>
                </a:solidFill>
                <a:latin typeface="ES Build Medium" pitchFamily="2" charset="0"/>
                <a:ea typeface="ES Build Medium" pitchFamily="2" charset="0"/>
              </a:defRPr>
            </a:lvl1pPr>
            <a:lvl2pPr>
              <a:defRPr b="0">
                <a:solidFill>
                  <a:schemeClr val="accent1"/>
                </a:solidFill>
              </a:defRPr>
            </a:lvl2pPr>
          </a:lstStyle>
          <a:p>
            <a:pPr lvl="0"/>
            <a:r>
              <a:rPr lang="en-US"/>
              <a:t>Date</a:t>
            </a:r>
          </a:p>
        </p:txBody>
      </p:sp>
      <p:sp>
        <p:nvSpPr>
          <p:cNvPr id="14" name="Text Placeholder 16">
            <a:extLst>
              <a:ext uri="{FF2B5EF4-FFF2-40B4-BE49-F238E27FC236}">
                <a16:creationId xmlns:a16="http://schemas.microsoft.com/office/drawing/2014/main" id="{FAE751CD-EF2C-3A61-EE9B-1DF1A1E8E9CC}"/>
              </a:ext>
            </a:extLst>
          </p:cNvPr>
          <p:cNvSpPr>
            <a:spLocks noGrp="1"/>
          </p:cNvSpPr>
          <p:nvPr>
            <p:ph type="body" sz="quarter" idx="14" hasCustomPrompt="1"/>
          </p:nvPr>
        </p:nvSpPr>
        <p:spPr>
          <a:xfrm>
            <a:off x="1766493" y="5140383"/>
            <a:ext cx="2893401" cy="682510"/>
          </a:xfrm>
        </p:spPr>
        <p:txBody>
          <a:bodyPr>
            <a:noAutofit/>
          </a:bodyPr>
          <a:lstStyle>
            <a:lvl1pPr marL="0" indent="0">
              <a:lnSpc>
                <a:spcPct val="80000"/>
              </a:lnSpc>
              <a:buNone/>
              <a:defRPr sz="2400" b="0" i="0">
                <a:solidFill>
                  <a:schemeClr val="accent1"/>
                </a:solidFill>
                <a:latin typeface="ES Build "/>
                <a:ea typeface="ES Build Neutral" pitchFamily="2" charset="77"/>
              </a:defRPr>
            </a:lvl1pPr>
            <a:lvl2pPr marL="0" indent="0">
              <a:lnSpc>
                <a:spcPct val="80000"/>
              </a:lnSpc>
              <a:buNone/>
              <a:defRPr sz="1600" b="0" i="0">
                <a:solidFill>
                  <a:schemeClr val="accent1"/>
                </a:solidFill>
                <a:latin typeface="ES Build Neutral" pitchFamily="2" charset="77"/>
                <a:ea typeface="ES Build Neutral" pitchFamily="2" charset="77"/>
              </a:defRPr>
            </a:lvl2pPr>
          </a:lstStyle>
          <a:p>
            <a:pPr lvl="0"/>
            <a:r>
              <a:rPr lang="en-US"/>
              <a:t>Speaker name</a:t>
            </a:r>
          </a:p>
          <a:p>
            <a:pPr lvl="1"/>
            <a:r>
              <a:rPr lang="en-US"/>
              <a:t>Title</a:t>
            </a:r>
          </a:p>
        </p:txBody>
      </p:sp>
      <p:sp>
        <p:nvSpPr>
          <p:cNvPr id="15" name="TextBox 14">
            <a:extLst>
              <a:ext uri="{FF2B5EF4-FFF2-40B4-BE49-F238E27FC236}">
                <a16:creationId xmlns:a16="http://schemas.microsoft.com/office/drawing/2014/main" id="{5E54C71E-309C-BF9C-34AD-A13754FE765D}"/>
              </a:ext>
            </a:extLst>
          </p:cNvPr>
          <p:cNvSpPr txBox="1"/>
          <p:nvPr userDrawn="1"/>
        </p:nvSpPr>
        <p:spPr>
          <a:xfrm>
            <a:off x="765932" y="6562482"/>
            <a:ext cx="5211836" cy="107722"/>
          </a:xfrm>
          <a:prstGeom prst="rect">
            <a:avLst/>
          </a:prstGeom>
          <a:noFill/>
        </p:spPr>
        <p:txBody>
          <a:bodyPr wrap="square" lIns="0" tIns="0" rIns="0" bIns="0">
            <a:spAutoFit/>
          </a:bodyPr>
          <a:lstStyle/>
          <a:p>
            <a:r>
              <a:rPr lang="en-US" sz="700">
                <a:solidFill>
                  <a:schemeClr val="accent1"/>
                </a:solidFill>
              </a:rPr>
              <a:t>© 2024 Veeam Software. Confidential information. All rights reserved. All trademarks are the property of their respective owners. </a:t>
            </a:r>
          </a:p>
        </p:txBody>
      </p:sp>
      <p:sp>
        <p:nvSpPr>
          <p:cNvPr id="16" name="Picture Placeholder 22">
            <a:extLst>
              <a:ext uri="{FF2B5EF4-FFF2-40B4-BE49-F238E27FC236}">
                <a16:creationId xmlns:a16="http://schemas.microsoft.com/office/drawing/2014/main" id="{57109EE7-7309-7DBE-3CB2-28C0D1D8BFA0}"/>
              </a:ext>
            </a:extLst>
          </p:cNvPr>
          <p:cNvSpPr>
            <a:spLocks noGrp="1"/>
          </p:cNvSpPr>
          <p:nvPr>
            <p:ph type="pic" sz="quarter" idx="15"/>
          </p:nvPr>
        </p:nvSpPr>
        <p:spPr>
          <a:xfrm>
            <a:off x="782097" y="5081588"/>
            <a:ext cx="800100" cy="800100"/>
          </a:xfrm>
          <a:prstGeom prst="ellipse">
            <a:avLst/>
          </a:prstGeom>
          <a:solidFill>
            <a:schemeClr val="accent2">
              <a:lumMod val="50000"/>
            </a:schemeClr>
          </a:solidFill>
        </p:spPr>
        <p:txBody>
          <a:bodyPr anchor="ctr"/>
          <a:lstStyle>
            <a:lvl1pPr marL="0" indent="0" algn="ctr">
              <a:buNone/>
              <a:defRPr sz="800"/>
            </a:lvl1pPr>
          </a:lstStyle>
          <a:p>
            <a:r>
              <a:rPr lang="en-US"/>
              <a:t>Click icon to add picture</a:t>
            </a:r>
          </a:p>
        </p:txBody>
      </p:sp>
      <p:sp>
        <p:nvSpPr>
          <p:cNvPr id="18" name="Text Placeholder 24">
            <a:extLst>
              <a:ext uri="{FF2B5EF4-FFF2-40B4-BE49-F238E27FC236}">
                <a16:creationId xmlns:a16="http://schemas.microsoft.com/office/drawing/2014/main" id="{F6607B47-7BE7-21F9-D394-BAE6F010D9BC}"/>
              </a:ext>
            </a:extLst>
          </p:cNvPr>
          <p:cNvSpPr>
            <a:spLocks noGrp="1"/>
          </p:cNvSpPr>
          <p:nvPr>
            <p:ph type="body" sz="quarter" idx="16" hasCustomPrompt="1"/>
          </p:nvPr>
        </p:nvSpPr>
        <p:spPr>
          <a:xfrm>
            <a:off x="6096594" y="5130801"/>
            <a:ext cx="2871027" cy="701675"/>
          </a:xfrm>
        </p:spPr>
        <p:txBody>
          <a:bodyPr>
            <a:noAutofit/>
          </a:bodyPr>
          <a:lstStyle>
            <a:lvl1pPr marL="0" indent="0">
              <a:lnSpc>
                <a:spcPct val="80000"/>
              </a:lnSpc>
              <a:buNone/>
              <a:defRPr sz="2400" b="0" i="0">
                <a:solidFill>
                  <a:schemeClr val="accent1"/>
                </a:solidFill>
                <a:latin typeface="ES Build "/>
                <a:ea typeface="ES Build Neutral" pitchFamily="2" charset="77"/>
              </a:defRPr>
            </a:lvl1pPr>
            <a:lvl2pPr marL="0" indent="0">
              <a:lnSpc>
                <a:spcPct val="80000"/>
              </a:lnSpc>
              <a:buNone/>
              <a:defRPr sz="1600" b="0" i="0">
                <a:solidFill>
                  <a:schemeClr val="accent1"/>
                </a:solidFill>
                <a:latin typeface="ES Build Neutral" pitchFamily="2" charset="77"/>
                <a:ea typeface="ES Build Neutral" pitchFamily="2" charset="77"/>
              </a:defRPr>
            </a:lvl2pPr>
          </a:lstStyle>
          <a:p>
            <a:pPr lvl="0"/>
            <a:r>
              <a:rPr lang="en-US"/>
              <a:t>Speaker name</a:t>
            </a:r>
          </a:p>
          <a:p>
            <a:pPr lvl="1"/>
            <a:r>
              <a:rPr lang="en-US"/>
              <a:t>Title</a:t>
            </a:r>
          </a:p>
        </p:txBody>
      </p:sp>
      <p:sp>
        <p:nvSpPr>
          <p:cNvPr id="20" name="Picture Placeholder 26">
            <a:extLst>
              <a:ext uri="{FF2B5EF4-FFF2-40B4-BE49-F238E27FC236}">
                <a16:creationId xmlns:a16="http://schemas.microsoft.com/office/drawing/2014/main" id="{13350D35-9103-3C22-DB9B-10617CC468DC}"/>
              </a:ext>
            </a:extLst>
          </p:cNvPr>
          <p:cNvSpPr>
            <a:spLocks noGrp="1"/>
          </p:cNvSpPr>
          <p:nvPr>
            <p:ph type="pic" sz="quarter" idx="17"/>
          </p:nvPr>
        </p:nvSpPr>
        <p:spPr>
          <a:xfrm>
            <a:off x="5067364" y="5081588"/>
            <a:ext cx="800100" cy="800100"/>
          </a:xfrm>
          <a:prstGeom prst="ellipse">
            <a:avLst/>
          </a:prstGeom>
          <a:solidFill>
            <a:schemeClr val="accent2">
              <a:lumMod val="50000"/>
            </a:schemeClr>
          </a:solidFill>
        </p:spPr>
        <p:txBody>
          <a:bodyPr anchor="ctr"/>
          <a:lstStyle>
            <a:lvl1pPr marL="0" indent="0" algn="ctr">
              <a:buNone/>
              <a:defRPr sz="800"/>
            </a:lvl1pPr>
          </a:lstStyle>
          <a:p>
            <a:r>
              <a:rPr lang="en-US"/>
              <a:t>Click icon to add picture</a:t>
            </a:r>
          </a:p>
        </p:txBody>
      </p:sp>
    </p:spTree>
    <p:extLst>
      <p:ext uri="{BB962C8B-B14F-4D97-AF65-F5344CB8AC3E}">
        <p14:creationId xmlns:p14="http://schemas.microsoft.com/office/powerpoint/2010/main" val="38538829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26ED3E18-DCF2-26A9-EBA1-C8E4CB6EA918}"/>
              </a:ext>
            </a:extLst>
          </p:cNvPr>
          <p:cNvSpPr>
            <a:spLocks noGrp="1"/>
          </p:cNvSpPr>
          <p:nvPr>
            <p:ph sz="quarter" idx="10"/>
          </p:nvPr>
        </p:nvSpPr>
        <p:spPr>
          <a:xfrm>
            <a:off x="493288" y="1719645"/>
            <a:ext cx="3575304" cy="4449380"/>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8">
            <a:extLst>
              <a:ext uri="{FF2B5EF4-FFF2-40B4-BE49-F238E27FC236}">
                <a16:creationId xmlns:a16="http://schemas.microsoft.com/office/drawing/2014/main" id="{4E0AE383-F63F-4E9C-C666-B46D64D59619}"/>
              </a:ext>
            </a:extLst>
          </p:cNvPr>
          <p:cNvSpPr>
            <a:spLocks noGrp="1"/>
          </p:cNvSpPr>
          <p:nvPr>
            <p:ph sz="quarter" idx="11"/>
          </p:nvPr>
        </p:nvSpPr>
        <p:spPr>
          <a:xfrm>
            <a:off x="4308475" y="1719645"/>
            <a:ext cx="3575304" cy="4449380"/>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18">
            <a:extLst>
              <a:ext uri="{FF2B5EF4-FFF2-40B4-BE49-F238E27FC236}">
                <a16:creationId xmlns:a16="http://schemas.microsoft.com/office/drawing/2014/main" id="{A29DE87B-148E-A6ED-3FB2-A054842ECC3B}"/>
              </a:ext>
            </a:extLst>
          </p:cNvPr>
          <p:cNvSpPr>
            <a:spLocks noGrp="1"/>
          </p:cNvSpPr>
          <p:nvPr>
            <p:ph sz="quarter" idx="12"/>
          </p:nvPr>
        </p:nvSpPr>
        <p:spPr>
          <a:xfrm>
            <a:off x="8123662" y="1722852"/>
            <a:ext cx="3575304" cy="4449380"/>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a:extLst>
              <a:ext uri="{FF2B5EF4-FFF2-40B4-BE49-F238E27FC236}">
                <a16:creationId xmlns:a16="http://schemas.microsoft.com/office/drawing/2014/main" id="{30485577-8D00-F652-EBBF-B564E0C7B997}"/>
              </a:ext>
            </a:extLst>
          </p:cNvPr>
          <p:cNvSpPr>
            <a:spLocks noGrp="1"/>
          </p:cNvSpPr>
          <p:nvPr>
            <p:ph type="subTitle" idx="1"/>
          </p:nvPr>
        </p:nvSpPr>
        <p:spPr>
          <a:xfrm>
            <a:off x="502179" y="1032607"/>
            <a:ext cx="11194511" cy="338993"/>
          </a:xfrm>
        </p:spPr>
        <p:txBody>
          <a:bodyPr/>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Title 5">
            <a:extLst>
              <a:ext uri="{FF2B5EF4-FFF2-40B4-BE49-F238E27FC236}">
                <a16:creationId xmlns:a16="http://schemas.microsoft.com/office/drawing/2014/main" id="{DB493ACF-4E2D-428C-3232-50138B18E618}"/>
              </a:ext>
            </a:extLst>
          </p:cNvPr>
          <p:cNvSpPr>
            <a:spLocks noGrp="1"/>
          </p:cNvSpPr>
          <p:nvPr>
            <p:ph type="title"/>
          </p:nvPr>
        </p:nvSpPr>
        <p:spPr>
          <a:xfrm>
            <a:off x="493712" y="342900"/>
            <a:ext cx="11202987" cy="682625"/>
          </a:xfrm>
        </p:spPr>
        <p:txBody>
          <a:bodyPr/>
          <a:lstStyle/>
          <a:p>
            <a:r>
              <a:rPr lang="en-US"/>
              <a:t>Click to edit Master title style</a:t>
            </a:r>
          </a:p>
        </p:txBody>
      </p:sp>
      <p:sp>
        <p:nvSpPr>
          <p:cNvPr id="8" name="Footer Placeholder 66">
            <a:extLst>
              <a:ext uri="{FF2B5EF4-FFF2-40B4-BE49-F238E27FC236}">
                <a16:creationId xmlns:a16="http://schemas.microsoft.com/office/drawing/2014/main" id="{BEABD273-C1AD-68DB-61DB-6CB4AB7FA49D}"/>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spTree>
    <p:extLst>
      <p:ext uri="{BB962C8B-B14F-4D97-AF65-F5344CB8AC3E}">
        <p14:creationId xmlns:p14="http://schemas.microsoft.com/office/powerpoint/2010/main" val="7300665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Weighted Right">
    <p:bg>
      <p:bgPr>
        <a:solidFill>
          <a:schemeClr val="bg1"/>
        </a:solidFill>
        <a:effectLst/>
      </p:bgPr>
    </p:bg>
    <p:spTree>
      <p:nvGrpSpPr>
        <p:cNvPr id="1" name=""/>
        <p:cNvGrpSpPr/>
        <p:nvPr/>
      </p:nvGrpSpPr>
      <p:grpSpPr>
        <a:xfrm>
          <a:off x="0" y="0"/>
          <a:ext cx="0" cy="0"/>
          <a:chOff x="0" y="0"/>
          <a:chExt cx="0" cy="0"/>
        </a:xfrm>
      </p:grpSpPr>
      <p:sp>
        <p:nvSpPr>
          <p:cNvPr id="13" name="Content Placeholder 18">
            <a:extLst>
              <a:ext uri="{FF2B5EF4-FFF2-40B4-BE49-F238E27FC236}">
                <a16:creationId xmlns:a16="http://schemas.microsoft.com/office/drawing/2014/main" id="{30CC4F6A-09EF-CA7A-135E-2A7DA3DE8BE8}"/>
              </a:ext>
            </a:extLst>
          </p:cNvPr>
          <p:cNvSpPr>
            <a:spLocks noGrp="1"/>
          </p:cNvSpPr>
          <p:nvPr>
            <p:ph sz="quarter" idx="11"/>
          </p:nvPr>
        </p:nvSpPr>
        <p:spPr>
          <a:xfrm>
            <a:off x="5021263" y="1717247"/>
            <a:ext cx="6675427" cy="4449380"/>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8">
            <a:extLst>
              <a:ext uri="{FF2B5EF4-FFF2-40B4-BE49-F238E27FC236}">
                <a16:creationId xmlns:a16="http://schemas.microsoft.com/office/drawing/2014/main" id="{5AF29E0F-6083-2CD4-1B4E-30B7C943B13F}"/>
              </a:ext>
            </a:extLst>
          </p:cNvPr>
          <p:cNvSpPr>
            <a:spLocks noGrp="1"/>
          </p:cNvSpPr>
          <p:nvPr>
            <p:ph sz="quarter" idx="10"/>
          </p:nvPr>
        </p:nvSpPr>
        <p:spPr>
          <a:xfrm>
            <a:off x="493288" y="1719645"/>
            <a:ext cx="3815188" cy="4449380"/>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D9C83AE-EEB9-8559-C60D-D57900997BDB}"/>
              </a:ext>
            </a:extLst>
          </p:cNvPr>
          <p:cNvSpPr>
            <a:spLocks noGrp="1"/>
          </p:cNvSpPr>
          <p:nvPr>
            <p:ph type="title"/>
          </p:nvPr>
        </p:nvSpPr>
        <p:spPr>
          <a:xfrm>
            <a:off x="493712" y="342900"/>
            <a:ext cx="11202987" cy="682625"/>
          </a:xfrm>
        </p:spPr>
        <p:txBody>
          <a:bodyPr anchor="t"/>
          <a:lstStyle/>
          <a:p>
            <a:r>
              <a:rPr lang="en-US"/>
              <a:t>Click to edit Master title style</a:t>
            </a:r>
          </a:p>
        </p:txBody>
      </p:sp>
      <p:sp>
        <p:nvSpPr>
          <p:cNvPr id="4" name="Subtitle 2">
            <a:extLst>
              <a:ext uri="{FF2B5EF4-FFF2-40B4-BE49-F238E27FC236}">
                <a16:creationId xmlns:a16="http://schemas.microsoft.com/office/drawing/2014/main" id="{155588C1-C39D-1F0E-C67A-287A95C2A244}"/>
              </a:ext>
            </a:extLst>
          </p:cNvPr>
          <p:cNvSpPr>
            <a:spLocks noGrp="1"/>
          </p:cNvSpPr>
          <p:nvPr>
            <p:ph type="subTitle" idx="1"/>
          </p:nvPr>
        </p:nvSpPr>
        <p:spPr>
          <a:xfrm>
            <a:off x="502179" y="1032607"/>
            <a:ext cx="11194511" cy="338993"/>
          </a:xfrm>
        </p:spPr>
        <p:txBody>
          <a:bodyPr anchor="t"/>
          <a:lstStyle>
            <a:lvl1pPr marL="0" indent="0" algn="l">
              <a:buNone/>
              <a:defRPr sz="21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66">
            <a:extLst>
              <a:ext uri="{FF2B5EF4-FFF2-40B4-BE49-F238E27FC236}">
                <a16:creationId xmlns:a16="http://schemas.microsoft.com/office/drawing/2014/main" id="{DF4FE5C4-523F-7647-BD86-2EB73DE91C3B}"/>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spTree>
    <p:extLst>
      <p:ext uri="{BB962C8B-B14F-4D97-AF65-F5344CB8AC3E}">
        <p14:creationId xmlns:p14="http://schemas.microsoft.com/office/powerpoint/2010/main" val="19438424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Four Charts">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010F1B0C-9864-2B66-5550-B51ABB2181E0}"/>
              </a:ext>
            </a:extLst>
          </p:cNvPr>
          <p:cNvSpPr>
            <a:spLocks noGrp="1"/>
          </p:cNvSpPr>
          <p:nvPr>
            <p:ph type="chart" sz="quarter" idx="11"/>
          </p:nvPr>
        </p:nvSpPr>
        <p:spPr>
          <a:xfrm>
            <a:off x="4308474" y="685800"/>
            <a:ext cx="3573463" cy="2400300"/>
          </a:xfrm>
        </p:spPr>
        <p:txBody>
          <a:bodyPr/>
          <a:lstStyle>
            <a:lvl1pPr marL="0" indent="0">
              <a:buNone/>
              <a:defRPr/>
            </a:lvl1pPr>
          </a:lstStyle>
          <a:p>
            <a:r>
              <a:rPr lang="en-US"/>
              <a:t>Click icon to add chart</a:t>
            </a:r>
          </a:p>
        </p:txBody>
      </p:sp>
      <p:sp>
        <p:nvSpPr>
          <p:cNvPr id="7" name="Chart Placeholder 5">
            <a:extLst>
              <a:ext uri="{FF2B5EF4-FFF2-40B4-BE49-F238E27FC236}">
                <a16:creationId xmlns:a16="http://schemas.microsoft.com/office/drawing/2014/main" id="{B5C4591E-0299-D4CA-4EC0-2577AB9AD23E}"/>
              </a:ext>
            </a:extLst>
          </p:cNvPr>
          <p:cNvSpPr>
            <a:spLocks noGrp="1"/>
          </p:cNvSpPr>
          <p:nvPr>
            <p:ph type="chart" sz="quarter" idx="12"/>
          </p:nvPr>
        </p:nvSpPr>
        <p:spPr>
          <a:xfrm>
            <a:off x="4305299" y="3432997"/>
            <a:ext cx="3575304" cy="2400300"/>
          </a:xfrm>
        </p:spPr>
        <p:txBody>
          <a:bodyPr/>
          <a:lstStyle>
            <a:lvl1pPr marL="0" indent="0">
              <a:buNone/>
              <a:defRPr/>
            </a:lvl1pPr>
          </a:lstStyle>
          <a:p>
            <a:r>
              <a:rPr lang="en-US"/>
              <a:t>Click icon to add chart</a:t>
            </a:r>
          </a:p>
        </p:txBody>
      </p:sp>
      <p:sp>
        <p:nvSpPr>
          <p:cNvPr id="8" name="Chart Placeholder 5">
            <a:extLst>
              <a:ext uri="{FF2B5EF4-FFF2-40B4-BE49-F238E27FC236}">
                <a16:creationId xmlns:a16="http://schemas.microsoft.com/office/drawing/2014/main" id="{2DFD2880-9F34-6A2B-7962-CB957956847C}"/>
              </a:ext>
            </a:extLst>
          </p:cNvPr>
          <p:cNvSpPr>
            <a:spLocks noGrp="1"/>
          </p:cNvSpPr>
          <p:nvPr>
            <p:ph type="chart" sz="quarter" idx="13"/>
          </p:nvPr>
        </p:nvSpPr>
        <p:spPr>
          <a:xfrm>
            <a:off x="8125919" y="685800"/>
            <a:ext cx="3575304" cy="2400300"/>
          </a:xfrm>
        </p:spPr>
        <p:txBody>
          <a:bodyPr/>
          <a:lstStyle>
            <a:lvl1pPr marL="0" indent="0">
              <a:buNone/>
              <a:defRPr/>
            </a:lvl1pPr>
          </a:lstStyle>
          <a:p>
            <a:r>
              <a:rPr lang="en-US"/>
              <a:t>Click icon to add chart</a:t>
            </a:r>
          </a:p>
        </p:txBody>
      </p:sp>
      <p:sp>
        <p:nvSpPr>
          <p:cNvPr id="9" name="Chart Placeholder 5">
            <a:extLst>
              <a:ext uri="{FF2B5EF4-FFF2-40B4-BE49-F238E27FC236}">
                <a16:creationId xmlns:a16="http://schemas.microsoft.com/office/drawing/2014/main" id="{3CD8E177-2464-66B3-840E-6CF2156BC440}"/>
              </a:ext>
            </a:extLst>
          </p:cNvPr>
          <p:cNvSpPr>
            <a:spLocks noGrp="1"/>
          </p:cNvSpPr>
          <p:nvPr>
            <p:ph type="chart" sz="quarter" idx="14"/>
          </p:nvPr>
        </p:nvSpPr>
        <p:spPr>
          <a:xfrm>
            <a:off x="8125919" y="3432997"/>
            <a:ext cx="3575304" cy="2400300"/>
          </a:xfrm>
        </p:spPr>
        <p:txBody>
          <a:bodyPr/>
          <a:lstStyle>
            <a:lvl1pPr marL="0" indent="0">
              <a:buNone/>
              <a:defRPr/>
            </a:lvl1pPr>
          </a:lstStyle>
          <a:p>
            <a:r>
              <a:rPr lang="en-US"/>
              <a:t>Click icon to add chart</a:t>
            </a:r>
          </a:p>
        </p:txBody>
      </p:sp>
      <p:sp>
        <p:nvSpPr>
          <p:cNvPr id="10" name="Title 1">
            <a:extLst>
              <a:ext uri="{FF2B5EF4-FFF2-40B4-BE49-F238E27FC236}">
                <a16:creationId xmlns:a16="http://schemas.microsoft.com/office/drawing/2014/main" id="{F5A595E0-7C19-EE8D-F4C3-E5B7E550716E}"/>
              </a:ext>
            </a:extLst>
          </p:cNvPr>
          <p:cNvSpPr>
            <a:spLocks noGrp="1"/>
          </p:cNvSpPr>
          <p:nvPr>
            <p:ph type="title"/>
          </p:nvPr>
        </p:nvSpPr>
        <p:spPr>
          <a:xfrm>
            <a:off x="493288" y="2075392"/>
            <a:ext cx="2861099" cy="1471461"/>
          </a:xfrm>
        </p:spPr>
        <p:txBody>
          <a:bodyPr anchor="ctr">
            <a:noAutofit/>
          </a:bodyPr>
          <a:lstStyle>
            <a:lvl1pPr>
              <a:defRPr>
                <a:solidFill>
                  <a:schemeClr val="tx1"/>
                </a:solidFill>
              </a:defRPr>
            </a:lvl1pPr>
          </a:lstStyle>
          <a:p>
            <a:r>
              <a:rPr lang="en-US"/>
              <a:t>Click to edit Master title style</a:t>
            </a:r>
          </a:p>
        </p:txBody>
      </p:sp>
      <p:sp>
        <p:nvSpPr>
          <p:cNvPr id="11" name="Subtitle 2">
            <a:extLst>
              <a:ext uri="{FF2B5EF4-FFF2-40B4-BE49-F238E27FC236}">
                <a16:creationId xmlns:a16="http://schemas.microsoft.com/office/drawing/2014/main" id="{E4386C81-DD1C-6DF3-6E7E-04FBACCF8C2F}"/>
              </a:ext>
            </a:extLst>
          </p:cNvPr>
          <p:cNvSpPr>
            <a:spLocks noGrp="1"/>
          </p:cNvSpPr>
          <p:nvPr>
            <p:ph type="subTitle" idx="1"/>
          </p:nvPr>
        </p:nvSpPr>
        <p:spPr>
          <a:xfrm>
            <a:off x="493713" y="3675854"/>
            <a:ext cx="2860675" cy="628841"/>
          </a:xfrm>
        </p:spPr>
        <p:txBody>
          <a:bodyPr>
            <a:noAutofit/>
          </a:bodyPr>
          <a:lstStyle>
            <a:lvl1pPr marL="0" indent="0" algn="l">
              <a:buNone/>
              <a:defRPr sz="21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66">
            <a:extLst>
              <a:ext uri="{FF2B5EF4-FFF2-40B4-BE49-F238E27FC236}">
                <a16:creationId xmlns:a16="http://schemas.microsoft.com/office/drawing/2014/main" id="{D5D0586B-0112-D2A3-5141-4F52B0D0E4CD}"/>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spTree>
    <p:extLst>
      <p:ext uri="{BB962C8B-B14F-4D97-AF65-F5344CB8AC3E}">
        <p14:creationId xmlns:p14="http://schemas.microsoft.com/office/powerpoint/2010/main" val="17838769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with Photo">
    <p:bg>
      <p:bgPr>
        <a:solidFill>
          <a:schemeClr val="bg1"/>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7B2A64-C4B7-C367-988A-AF7D9B55C478}"/>
              </a:ext>
            </a:extLst>
          </p:cNvPr>
          <p:cNvSpPr>
            <a:spLocks noGrp="1"/>
          </p:cNvSpPr>
          <p:nvPr>
            <p:ph type="pic" sz="quarter" idx="12" hasCustomPrompt="1"/>
          </p:nvPr>
        </p:nvSpPr>
        <p:spPr>
          <a:xfrm>
            <a:off x="6210300" y="0"/>
            <a:ext cx="5981700" cy="6858000"/>
          </a:xfrm>
          <a:custGeom>
            <a:avLst/>
            <a:gdLst>
              <a:gd name="connsiteX0" fmla="*/ 0 w 5981700"/>
              <a:gd name="connsiteY0" fmla="*/ 0 h 6858000"/>
              <a:gd name="connsiteX1" fmla="*/ 5981700 w 5981700"/>
              <a:gd name="connsiteY1" fmla="*/ 0 h 6858000"/>
              <a:gd name="connsiteX2" fmla="*/ 5981700 w 5981700"/>
              <a:gd name="connsiteY2" fmla="*/ 6858000 h 6858000"/>
              <a:gd name="connsiteX3" fmla="*/ 868521 w 5981700"/>
              <a:gd name="connsiteY3" fmla="*/ 6858000 h 6858000"/>
              <a:gd name="connsiteX4" fmla="*/ 832220 w 5981700"/>
              <a:gd name="connsiteY4" fmla="*/ 6854460 h 6858000"/>
              <a:gd name="connsiteX5" fmla="*/ 628589 w 5981700"/>
              <a:gd name="connsiteY5" fmla="*/ 6746455 h 6858000"/>
              <a:gd name="connsiteX6" fmla="*/ 108122 w 5981700"/>
              <a:gd name="connsiteY6" fmla="*/ 6225987 h 6858000"/>
              <a:gd name="connsiteX7" fmla="*/ 21455 w 5981700"/>
              <a:gd name="connsiteY7" fmla="*/ 6095966 h 6858000"/>
              <a:gd name="connsiteX8" fmla="*/ 0 w 5981700"/>
              <a:gd name="connsiteY8" fmla="*/ 60250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1700" h="6858000">
                <a:moveTo>
                  <a:pt x="0" y="0"/>
                </a:moveTo>
                <a:lnTo>
                  <a:pt x="5981700" y="0"/>
                </a:lnTo>
                <a:lnTo>
                  <a:pt x="5981700" y="6858000"/>
                </a:lnTo>
                <a:lnTo>
                  <a:pt x="868521" y="6858000"/>
                </a:lnTo>
                <a:lnTo>
                  <a:pt x="832220" y="6854460"/>
                </a:lnTo>
                <a:cubicBezTo>
                  <a:pt x="755128" y="6839198"/>
                  <a:pt x="683798" y="6801663"/>
                  <a:pt x="628589" y="6746455"/>
                </a:cubicBezTo>
                <a:lnTo>
                  <a:pt x="108122" y="6225987"/>
                </a:lnTo>
                <a:cubicBezTo>
                  <a:pt x="70644" y="6188509"/>
                  <a:pt x="41357" y="6144201"/>
                  <a:pt x="21455" y="6095966"/>
                </a:cubicBezTo>
                <a:lnTo>
                  <a:pt x="0" y="6025028"/>
                </a:lnTo>
                <a:close/>
              </a:path>
            </a:pathLst>
          </a:custGeom>
          <a:solidFill>
            <a:schemeClr val="bg2"/>
          </a:solidFill>
          <a:ln>
            <a:noFill/>
          </a:ln>
        </p:spPr>
        <p:txBody>
          <a:bodyPr wrap="square" lIns="182880" tIns="182880" rIns="0" anchor="t">
            <a:noAutofit/>
          </a:bodyPr>
          <a:lstStyle>
            <a:lvl1pPr marL="0" indent="0" algn="ctr">
              <a:buNone/>
              <a:defRPr>
                <a:solidFill>
                  <a:schemeClr val="tx1"/>
                </a:solidFill>
              </a:defRPr>
            </a:lvl1pPr>
          </a:lstStyle>
          <a:p>
            <a:r>
              <a:rPr lang="en-US"/>
              <a:t>Please use Veeam approved images</a:t>
            </a:r>
          </a:p>
        </p:txBody>
      </p:sp>
      <p:sp>
        <p:nvSpPr>
          <p:cNvPr id="4" name="Title 1">
            <a:extLst>
              <a:ext uri="{FF2B5EF4-FFF2-40B4-BE49-F238E27FC236}">
                <a16:creationId xmlns:a16="http://schemas.microsoft.com/office/drawing/2014/main" id="{AD7778CF-A5E1-5836-F550-AC9C3D684FCB}"/>
              </a:ext>
            </a:extLst>
          </p:cNvPr>
          <p:cNvSpPr>
            <a:spLocks noGrp="1"/>
          </p:cNvSpPr>
          <p:nvPr>
            <p:ph type="title"/>
          </p:nvPr>
        </p:nvSpPr>
        <p:spPr>
          <a:xfrm>
            <a:off x="963257" y="1679120"/>
            <a:ext cx="4654906" cy="3118757"/>
          </a:xfrm>
        </p:spPr>
        <p:txBody>
          <a:bodyPr anchor="t"/>
          <a:lstStyle>
            <a:lvl1pPr>
              <a:lnSpc>
                <a:spcPct val="87000"/>
              </a:lnSpc>
              <a:defRPr>
                <a:solidFill>
                  <a:schemeClr val="accent1"/>
                </a:solidFill>
              </a:defRPr>
            </a:lvl1pPr>
          </a:lstStyle>
          <a:p>
            <a:r>
              <a:rPr lang="en-US"/>
              <a:t>Click to edit Master title style</a:t>
            </a:r>
          </a:p>
        </p:txBody>
      </p:sp>
      <p:sp>
        <p:nvSpPr>
          <p:cNvPr id="20" name="object 2">
            <a:extLst>
              <a:ext uri="{FF2B5EF4-FFF2-40B4-BE49-F238E27FC236}">
                <a16:creationId xmlns:a16="http://schemas.microsoft.com/office/drawing/2014/main" id="{520EAD5B-EE6E-076C-443E-61899DD92BA2}"/>
              </a:ext>
            </a:extLst>
          </p:cNvPr>
          <p:cNvSpPr/>
          <p:nvPr userDrawn="1"/>
        </p:nvSpPr>
        <p:spPr>
          <a:xfrm>
            <a:off x="528239" y="1034733"/>
            <a:ext cx="468070" cy="468069"/>
          </a:xfrm>
          <a:custGeom>
            <a:avLst/>
            <a:gdLst/>
            <a:ahLst/>
            <a:cxnLst/>
            <a:rect l="l" t="t" r="r" b="b"/>
            <a:pathLst>
              <a:path w="828675" h="828675">
                <a:moveTo>
                  <a:pt x="828121" y="0"/>
                </a:moveTo>
                <a:lnTo>
                  <a:pt x="511712" y="565"/>
                </a:lnTo>
                <a:lnTo>
                  <a:pt x="468206" y="4936"/>
                </a:lnTo>
                <a:lnTo>
                  <a:pt x="426776" y="17574"/>
                </a:lnTo>
                <a:lnTo>
                  <a:pt x="388579" y="37999"/>
                </a:lnTo>
                <a:lnTo>
                  <a:pt x="354774" y="65736"/>
                </a:lnTo>
                <a:lnTo>
                  <a:pt x="65736" y="354774"/>
                </a:lnTo>
                <a:lnTo>
                  <a:pt x="38004" y="388579"/>
                </a:lnTo>
                <a:lnTo>
                  <a:pt x="17577" y="426774"/>
                </a:lnTo>
                <a:lnTo>
                  <a:pt x="4938" y="468201"/>
                </a:lnTo>
                <a:lnTo>
                  <a:pt x="565" y="511701"/>
                </a:lnTo>
                <a:lnTo>
                  <a:pt x="0" y="828110"/>
                </a:lnTo>
                <a:lnTo>
                  <a:pt x="235553" y="828110"/>
                </a:lnTo>
                <a:lnTo>
                  <a:pt x="236087" y="280776"/>
                </a:lnTo>
                <a:lnTo>
                  <a:pt x="239616" y="263356"/>
                </a:lnTo>
                <a:lnTo>
                  <a:pt x="249213" y="249132"/>
                </a:lnTo>
                <a:lnTo>
                  <a:pt x="263438" y="239540"/>
                </a:lnTo>
                <a:lnTo>
                  <a:pt x="280850" y="236013"/>
                </a:lnTo>
                <a:lnTo>
                  <a:pt x="828121" y="235553"/>
                </a:lnTo>
                <a:lnTo>
                  <a:pt x="828121" y="0"/>
                </a:lnTo>
                <a:close/>
              </a:path>
            </a:pathLst>
          </a:custGeom>
          <a:gradFill flip="none" rotWithShape="1">
            <a:gsLst>
              <a:gs pos="0">
                <a:srgbClr val="00824A"/>
              </a:gs>
              <a:gs pos="95413">
                <a:srgbClr val="96FFA1"/>
              </a:gs>
              <a:gs pos="32000">
                <a:srgbClr val="00D05D"/>
              </a:gs>
            </a:gsLst>
            <a:lin ang="8400000" scaled="0"/>
            <a:tileRect/>
          </a:gradFill>
        </p:spPr>
        <p:txBody>
          <a:bodyPr wrap="square" lIns="0" tIns="0" rIns="0" bIns="0" rtlCol="0"/>
          <a:lstStyle/>
          <a:p>
            <a:pPr marR="0" lvl="0" indent="0" fontAlgn="auto">
              <a:lnSpc>
                <a:spcPct val="100000"/>
              </a:lnSpc>
              <a:spcBef>
                <a:spcPts val="0"/>
              </a:spcBef>
              <a:spcAft>
                <a:spcPts val="0"/>
              </a:spcAft>
              <a:buClrTx/>
              <a:buSzTx/>
              <a:buFontTx/>
              <a:buNone/>
              <a:tabLst/>
            </a:pPr>
            <a:endParaRPr kumimoji="0" b="0" i="0" u="none" strike="noStrike" kern="0" cap="none" spc="0" normalizeH="0" baseline="0" noProof="0">
              <a:ln>
                <a:noFill/>
              </a:ln>
              <a:solidFill>
                <a:srgbClr val="4F5860"/>
              </a:solidFill>
              <a:effectLst/>
              <a:uLnTx/>
              <a:uFillTx/>
            </a:endParaRPr>
          </a:p>
        </p:txBody>
      </p:sp>
      <p:sp>
        <p:nvSpPr>
          <p:cNvPr id="2" name="Subtitle 2">
            <a:extLst>
              <a:ext uri="{FF2B5EF4-FFF2-40B4-BE49-F238E27FC236}">
                <a16:creationId xmlns:a16="http://schemas.microsoft.com/office/drawing/2014/main" id="{14ACDD1A-48D3-FFFC-3E6E-5E80D7C7A5FE}"/>
              </a:ext>
            </a:extLst>
          </p:cNvPr>
          <p:cNvSpPr>
            <a:spLocks noGrp="1"/>
          </p:cNvSpPr>
          <p:nvPr>
            <p:ph type="subTitle" idx="1" hasCustomPrompt="1"/>
          </p:nvPr>
        </p:nvSpPr>
        <p:spPr>
          <a:xfrm>
            <a:off x="963258" y="5078194"/>
            <a:ext cx="4654906" cy="747931"/>
          </a:xfrm>
        </p:spPr>
        <p:txBody>
          <a:bodyPr/>
          <a:lstStyle>
            <a:lvl1pPr marL="0" indent="0" algn="l">
              <a:buNone/>
              <a:defRPr lang="en-US" sz="2400" b="0" i="0" kern="1200" dirty="0">
                <a:solidFill>
                  <a:srgbClr val="8E71F4"/>
                </a:solidFill>
                <a:latin typeface="ES Build" pitchFamily="2" charset="77"/>
                <a:ea typeface="ES Build" pitchFamily="2" charset="77"/>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96000"/>
              </a:lnSpc>
              <a:spcBef>
                <a:spcPts val="900"/>
              </a:spcBef>
              <a:spcAft>
                <a:spcPts val="300"/>
              </a:spcAft>
              <a:buClrTx/>
              <a:buFont typeface="Arial" panose="020B0604020202020204" pitchFamily="34" charset="0"/>
              <a:buNone/>
              <a:tabLst/>
            </a:pPr>
            <a:r>
              <a:rPr lang="en-US"/>
              <a:t>Attribution</a:t>
            </a:r>
          </a:p>
        </p:txBody>
      </p:sp>
      <p:pic>
        <p:nvPicPr>
          <p:cNvPr id="3" name="Graphic 2">
            <a:extLst>
              <a:ext uri="{FF2B5EF4-FFF2-40B4-BE49-F238E27FC236}">
                <a16:creationId xmlns:a16="http://schemas.microsoft.com/office/drawing/2014/main" id="{1A0D135D-6F15-EEE1-0D80-1B6A2A23BD49}"/>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130840728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with Photo">
    <p:bg>
      <p:bgPr>
        <a:solidFill>
          <a:schemeClr val="bg1"/>
        </a:solidFill>
        <a:effectLst/>
      </p:bgPr>
    </p:bg>
    <p:spTree>
      <p:nvGrpSpPr>
        <p:cNvPr id="1" name=""/>
        <p:cNvGrpSpPr/>
        <p:nvPr/>
      </p:nvGrpSpPr>
      <p:grpSpPr>
        <a:xfrm>
          <a:off x="0" y="0"/>
          <a:ext cx="0" cy="0"/>
          <a:chOff x="0" y="0"/>
          <a:chExt cx="0" cy="0"/>
        </a:xfrm>
      </p:grpSpPr>
      <p:sp>
        <p:nvSpPr>
          <p:cNvPr id="4" name="Picture Placeholder 13">
            <a:extLst>
              <a:ext uri="{FF2B5EF4-FFF2-40B4-BE49-F238E27FC236}">
                <a16:creationId xmlns:a16="http://schemas.microsoft.com/office/drawing/2014/main" id="{ED376942-9122-FE26-7F33-37835C84C2AA}"/>
              </a:ext>
            </a:extLst>
          </p:cNvPr>
          <p:cNvSpPr>
            <a:spLocks noGrp="1"/>
          </p:cNvSpPr>
          <p:nvPr>
            <p:ph type="pic" sz="quarter" idx="12" hasCustomPrompt="1"/>
          </p:nvPr>
        </p:nvSpPr>
        <p:spPr>
          <a:xfrm>
            <a:off x="6210300" y="0"/>
            <a:ext cx="5981700" cy="6858000"/>
          </a:xfrm>
          <a:custGeom>
            <a:avLst/>
            <a:gdLst>
              <a:gd name="connsiteX0" fmla="*/ 0 w 5981700"/>
              <a:gd name="connsiteY0" fmla="*/ 0 h 6858000"/>
              <a:gd name="connsiteX1" fmla="*/ 5981700 w 5981700"/>
              <a:gd name="connsiteY1" fmla="*/ 0 h 6858000"/>
              <a:gd name="connsiteX2" fmla="*/ 5981700 w 5981700"/>
              <a:gd name="connsiteY2" fmla="*/ 6858000 h 6858000"/>
              <a:gd name="connsiteX3" fmla="*/ 868521 w 5981700"/>
              <a:gd name="connsiteY3" fmla="*/ 6858000 h 6858000"/>
              <a:gd name="connsiteX4" fmla="*/ 832220 w 5981700"/>
              <a:gd name="connsiteY4" fmla="*/ 6854460 h 6858000"/>
              <a:gd name="connsiteX5" fmla="*/ 628589 w 5981700"/>
              <a:gd name="connsiteY5" fmla="*/ 6746455 h 6858000"/>
              <a:gd name="connsiteX6" fmla="*/ 108122 w 5981700"/>
              <a:gd name="connsiteY6" fmla="*/ 6225987 h 6858000"/>
              <a:gd name="connsiteX7" fmla="*/ 21455 w 5981700"/>
              <a:gd name="connsiteY7" fmla="*/ 6095966 h 6858000"/>
              <a:gd name="connsiteX8" fmla="*/ 0 w 5981700"/>
              <a:gd name="connsiteY8" fmla="*/ 60250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1700" h="6858000">
                <a:moveTo>
                  <a:pt x="0" y="0"/>
                </a:moveTo>
                <a:lnTo>
                  <a:pt x="5981700" y="0"/>
                </a:lnTo>
                <a:lnTo>
                  <a:pt x="5981700" y="6858000"/>
                </a:lnTo>
                <a:lnTo>
                  <a:pt x="868521" y="6858000"/>
                </a:lnTo>
                <a:lnTo>
                  <a:pt x="832220" y="6854460"/>
                </a:lnTo>
                <a:cubicBezTo>
                  <a:pt x="755128" y="6839198"/>
                  <a:pt x="683798" y="6801663"/>
                  <a:pt x="628589" y="6746455"/>
                </a:cubicBezTo>
                <a:lnTo>
                  <a:pt x="108122" y="6225987"/>
                </a:lnTo>
                <a:cubicBezTo>
                  <a:pt x="70644" y="6188509"/>
                  <a:pt x="41357" y="6144201"/>
                  <a:pt x="21455" y="6095966"/>
                </a:cubicBezTo>
                <a:lnTo>
                  <a:pt x="0" y="6025028"/>
                </a:lnTo>
                <a:close/>
              </a:path>
            </a:pathLst>
          </a:custGeom>
          <a:solidFill>
            <a:schemeClr val="bg1">
              <a:lumMod val="95000"/>
            </a:schemeClr>
          </a:solidFill>
        </p:spPr>
        <p:txBody>
          <a:bodyPr wrap="square" lIns="182880" tIns="182880" rIns="0" anchor="t">
            <a:noAutofit/>
          </a:bodyPr>
          <a:lstStyle>
            <a:lvl1pPr marL="0" indent="0" algn="ctr">
              <a:buNone/>
              <a:defRPr>
                <a:solidFill>
                  <a:schemeClr val="tx1"/>
                </a:solidFill>
              </a:defRPr>
            </a:lvl1pPr>
          </a:lstStyle>
          <a:p>
            <a:r>
              <a:rPr lang="en-US"/>
              <a:t>Please use Veeam approved images</a:t>
            </a:r>
          </a:p>
        </p:txBody>
      </p:sp>
      <p:sp>
        <p:nvSpPr>
          <p:cNvPr id="3" name="Footer Placeholder 66">
            <a:extLst>
              <a:ext uri="{FF2B5EF4-FFF2-40B4-BE49-F238E27FC236}">
                <a16:creationId xmlns:a16="http://schemas.microsoft.com/office/drawing/2014/main" id="{390F180B-8D91-8B67-65C1-D31CA48002D6}"/>
              </a:ext>
            </a:extLst>
          </p:cNvPr>
          <p:cNvSpPr>
            <a:spLocks noGrp="1"/>
          </p:cNvSpPr>
          <p:nvPr>
            <p:ph type="ftr" sz="quarter" idx="3"/>
          </p:nvPr>
        </p:nvSpPr>
        <p:spPr>
          <a:xfrm>
            <a:off x="493290" y="6405456"/>
            <a:ext cx="5124874" cy="107722"/>
          </a:xfrm>
          <a:prstGeom prst="rect">
            <a:avLst/>
          </a:prstGeom>
        </p:spPr>
        <p:txBody>
          <a:bodyPr vert="horz" lIns="0" tIns="0" rIns="0" bIns="0" rtlCol="0" anchor="t"/>
          <a:lstStyle>
            <a:lvl1pPr algn="l">
              <a:defRPr sz="700">
                <a:solidFill>
                  <a:schemeClr val="tx2"/>
                </a:solidFill>
              </a:defRPr>
            </a:lvl1pPr>
          </a:lstStyle>
          <a:p>
            <a:endParaRPr lang="en-US"/>
          </a:p>
        </p:txBody>
      </p:sp>
      <p:sp>
        <p:nvSpPr>
          <p:cNvPr id="7" name="Title 6">
            <a:extLst>
              <a:ext uri="{FF2B5EF4-FFF2-40B4-BE49-F238E27FC236}">
                <a16:creationId xmlns:a16="http://schemas.microsoft.com/office/drawing/2014/main" id="{7B160CC1-C532-FC64-CF24-FBC6F71CD5C7}"/>
              </a:ext>
            </a:extLst>
          </p:cNvPr>
          <p:cNvSpPr>
            <a:spLocks noGrp="1"/>
          </p:cNvSpPr>
          <p:nvPr>
            <p:ph type="title"/>
          </p:nvPr>
        </p:nvSpPr>
        <p:spPr>
          <a:xfrm>
            <a:off x="485246" y="342900"/>
            <a:ext cx="5124451" cy="682625"/>
          </a:xfrm>
        </p:spPr>
        <p:txBody>
          <a:bodyPr anchor="t">
            <a:noAutofit/>
          </a:bodyPr>
          <a:lstStyle/>
          <a:p>
            <a:r>
              <a:rPr lang="en-US"/>
              <a:t>Click to edit Master title style</a:t>
            </a:r>
          </a:p>
        </p:txBody>
      </p:sp>
      <p:sp>
        <p:nvSpPr>
          <p:cNvPr id="8" name="Subtitle 2">
            <a:extLst>
              <a:ext uri="{FF2B5EF4-FFF2-40B4-BE49-F238E27FC236}">
                <a16:creationId xmlns:a16="http://schemas.microsoft.com/office/drawing/2014/main" id="{9DC91D18-D941-B968-8B2A-E296B55FD283}"/>
              </a:ext>
            </a:extLst>
          </p:cNvPr>
          <p:cNvSpPr>
            <a:spLocks noGrp="1"/>
          </p:cNvSpPr>
          <p:nvPr>
            <p:ph type="subTitle" idx="1"/>
          </p:nvPr>
        </p:nvSpPr>
        <p:spPr>
          <a:xfrm>
            <a:off x="493713" y="1032607"/>
            <a:ext cx="5124451" cy="338993"/>
          </a:xfrm>
        </p:spPr>
        <p:txBody>
          <a:bodyPr anchor="t">
            <a:noAutofit/>
          </a:bodyPr>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Content Placeholder 18">
            <a:extLst>
              <a:ext uri="{FF2B5EF4-FFF2-40B4-BE49-F238E27FC236}">
                <a16:creationId xmlns:a16="http://schemas.microsoft.com/office/drawing/2014/main" id="{B9F2A843-E47E-7C1D-C8AB-5E24DBAC3166}"/>
              </a:ext>
            </a:extLst>
          </p:cNvPr>
          <p:cNvSpPr>
            <a:spLocks noGrp="1"/>
          </p:cNvSpPr>
          <p:nvPr>
            <p:ph sz="quarter" idx="10"/>
          </p:nvPr>
        </p:nvSpPr>
        <p:spPr>
          <a:xfrm>
            <a:off x="493288" y="1719645"/>
            <a:ext cx="5124452" cy="4449380"/>
          </a:xfrm>
        </p:spPr>
        <p:txBody>
          <a:bodyPr anchor="t"/>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raphic 10">
            <a:extLst>
              <a:ext uri="{FF2B5EF4-FFF2-40B4-BE49-F238E27FC236}">
                <a16:creationId xmlns:a16="http://schemas.microsoft.com/office/drawing/2014/main" id="{EA5D73F9-1845-9066-F594-D54B404C107C}"/>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4275629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ontent &amp; Picture Dark">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97FBCB4-2AC0-192D-7144-A7BE8A053CEF}"/>
              </a:ext>
            </a:extLst>
          </p:cNvPr>
          <p:cNvSpPr>
            <a:spLocks noGrp="1"/>
          </p:cNvSpPr>
          <p:nvPr>
            <p:ph type="pic" sz="quarter" idx="15" hasCustomPrompt="1"/>
          </p:nvPr>
        </p:nvSpPr>
        <p:spPr>
          <a:xfrm>
            <a:off x="7177088" y="1556763"/>
            <a:ext cx="3805237" cy="3744474"/>
          </a:xfrm>
          <a:prstGeom prst="roundRect">
            <a:avLst>
              <a:gd name="adj" fmla="val 869"/>
            </a:avLst>
          </a:prstGeom>
          <a:solidFill>
            <a:schemeClr val="bg2"/>
          </a:solidFill>
        </p:spPr>
        <p:txBody>
          <a:bodyPr/>
          <a:lstStyle>
            <a:lvl1pPr marL="0" indent="0" algn="ctr">
              <a:buNone/>
              <a:defRPr sz="1600"/>
            </a:lvl1pPr>
          </a:lstStyle>
          <a:p>
            <a:r>
              <a:rPr lang="en-US"/>
              <a:t>Please use Veeam approved images</a:t>
            </a:r>
          </a:p>
        </p:txBody>
      </p:sp>
      <p:sp>
        <p:nvSpPr>
          <p:cNvPr id="8" name="object 2">
            <a:extLst>
              <a:ext uri="{FF2B5EF4-FFF2-40B4-BE49-F238E27FC236}">
                <a16:creationId xmlns:a16="http://schemas.microsoft.com/office/drawing/2014/main" id="{3B21599D-5CF1-B6C2-D0C7-91432748B476}"/>
              </a:ext>
            </a:extLst>
          </p:cNvPr>
          <p:cNvSpPr/>
          <p:nvPr userDrawn="1"/>
        </p:nvSpPr>
        <p:spPr>
          <a:xfrm>
            <a:off x="6857009" y="1213653"/>
            <a:ext cx="422320" cy="422318"/>
          </a:xfrm>
          <a:custGeom>
            <a:avLst/>
            <a:gdLst/>
            <a:ahLst/>
            <a:cxnLst/>
            <a:rect l="l" t="t" r="r" b="b"/>
            <a:pathLst>
              <a:path w="828675" h="828675">
                <a:moveTo>
                  <a:pt x="828121" y="0"/>
                </a:moveTo>
                <a:lnTo>
                  <a:pt x="511712" y="565"/>
                </a:lnTo>
                <a:lnTo>
                  <a:pt x="468206" y="4936"/>
                </a:lnTo>
                <a:lnTo>
                  <a:pt x="426776" y="17574"/>
                </a:lnTo>
                <a:lnTo>
                  <a:pt x="388579" y="37999"/>
                </a:lnTo>
                <a:lnTo>
                  <a:pt x="354774" y="65736"/>
                </a:lnTo>
                <a:lnTo>
                  <a:pt x="65736" y="354774"/>
                </a:lnTo>
                <a:lnTo>
                  <a:pt x="38004" y="388579"/>
                </a:lnTo>
                <a:lnTo>
                  <a:pt x="17577" y="426774"/>
                </a:lnTo>
                <a:lnTo>
                  <a:pt x="4938" y="468201"/>
                </a:lnTo>
                <a:lnTo>
                  <a:pt x="565" y="511701"/>
                </a:lnTo>
                <a:lnTo>
                  <a:pt x="0" y="828110"/>
                </a:lnTo>
                <a:lnTo>
                  <a:pt x="235553" y="828110"/>
                </a:lnTo>
                <a:lnTo>
                  <a:pt x="236087" y="280776"/>
                </a:lnTo>
                <a:lnTo>
                  <a:pt x="239616" y="263356"/>
                </a:lnTo>
                <a:lnTo>
                  <a:pt x="249213" y="249132"/>
                </a:lnTo>
                <a:lnTo>
                  <a:pt x="263438" y="239540"/>
                </a:lnTo>
                <a:lnTo>
                  <a:pt x="280850" y="236013"/>
                </a:lnTo>
                <a:lnTo>
                  <a:pt x="828121" y="235553"/>
                </a:lnTo>
                <a:lnTo>
                  <a:pt x="828121" y="0"/>
                </a:lnTo>
                <a:close/>
              </a:path>
            </a:pathLst>
          </a:custGeom>
          <a:solidFill>
            <a:schemeClr val="accent2"/>
          </a:solidFill>
        </p:spPr>
        <p:txBody>
          <a:bodyPr wrap="square" lIns="0" tIns="0" rIns="0" bIns="0" rtlCol="0"/>
          <a:lstStyle/>
          <a:p>
            <a:pPr marR="0" lvl="0" indent="0" fontAlgn="auto">
              <a:lnSpc>
                <a:spcPct val="100000"/>
              </a:lnSpc>
              <a:spcBef>
                <a:spcPts val="0"/>
              </a:spcBef>
              <a:spcAft>
                <a:spcPts val="0"/>
              </a:spcAft>
              <a:buClrTx/>
              <a:buSzTx/>
              <a:buFontTx/>
              <a:buNone/>
              <a:tabLst/>
            </a:pPr>
            <a:endParaRPr kumimoji="0" b="0" i="0" u="none" strike="noStrike" kern="0" cap="none" spc="0" normalizeH="0" baseline="0" noProof="0">
              <a:ln>
                <a:noFill/>
              </a:ln>
              <a:solidFill>
                <a:srgbClr val="4F5860"/>
              </a:solidFill>
              <a:effectLst/>
              <a:uLnTx/>
              <a:uFillTx/>
            </a:endParaRPr>
          </a:p>
        </p:txBody>
      </p:sp>
      <p:sp>
        <p:nvSpPr>
          <p:cNvPr id="10" name="object 2">
            <a:extLst>
              <a:ext uri="{FF2B5EF4-FFF2-40B4-BE49-F238E27FC236}">
                <a16:creationId xmlns:a16="http://schemas.microsoft.com/office/drawing/2014/main" id="{68ECF173-E18B-1953-ACA9-0490C3A096A0}"/>
              </a:ext>
            </a:extLst>
          </p:cNvPr>
          <p:cNvSpPr/>
          <p:nvPr userDrawn="1"/>
        </p:nvSpPr>
        <p:spPr>
          <a:xfrm rot="10800000">
            <a:off x="10871208" y="5200104"/>
            <a:ext cx="422320" cy="422318"/>
          </a:xfrm>
          <a:custGeom>
            <a:avLst/>
            <a:gdLst/>
            <a:ahLst/>
            <a:cxnLst/>
            <a:rect l="l" t="t" r="r" b="b"/>
            <a:pathLst>
              <a:path w="828675" h="828675">
                <a:moveTo>
                  <a:pt x="828121" y="0"/>
                </a:moveTo>
                <a:lnTo>
                  <a:pt x="511712" y="565"/>
                </a:lnTo>
                <a:lnTo>
                  <a:pt x="468206" y="4936"/>
                </a:lnTo>
                <a:lnTo>
                  <a:pt x="426776" y="17574"/>
                </a:lnTo>
                <a:lnTo>
                  <a:pt x="388579" y="37999"/>
                </a:lnTo>
                <a:lnTo>
                  <a:pt x="354774" y="65736"/>
                </a:lnTo>
                <a:lnTo>
                  <a:pt x="65736" y="354774"/>
                </a:lnTo>
                <a:lnTo>
                  <a:pt x="38004" y="388579"/>
                </a:lnTo>
                <a:lnTo>
                  <a:pt x="17577" y="426774"/>
                </a:lnTo>
                <a:lnTo>
                  <a:pt x="4938" y="468201"/>
                </a:lnTo>
                <a:lnTo>
                  <a:pt x="565" y="511701"/>
                </a:lnTo>
                <a:lnTo>
                  <a:pt x="0" y="828110"/>
                </a:lnTo>
                <a:lnTo>
                  <a:pt x="235553" y="828110"/>
                </a:lnTo>
                <a:lnTo>
                  <a:pt x="236087" y="280776"/>
                </a:lnTo>
                <a:lnTo>
                  <a:pt x="239616" y="263356"/>
                </a:lnTo>
                <a:lnTo>
                  <a:pt x="249213" y="249132"/>
                </a:lnTo>
                <a:lnTo>
                  <a:pt x="263438" y="239540"/>
                </a:lnTo>
                <a:lnTo>
                  <a:pt x="280850" y="236013"/>
                </a:lnTo>
                <a:lnTo>
                  <a:pt x="828121" y="235553"/>
                </a:lnTo>
                <a:lnTo>
                  <a:pt x="828121" y="0"/>
                </a:lnTo>
                <a:close/>
              </a:path>
            </a:pathLst>
          </a:custGeom>
          <a:solidFill>
            <a:schemeClr val="accent2"/>
          </a:solidFill>
        </p:spPr>
        <p:txBody>
          <a:bodyPr wrap="square" lIns="0" tIns="0" rIns="0" bIns="0" rtlCol="0"/>
          <a:lstStyle/>
          <a:p>
            <a:pPr marR="0" lvl="0" indent="0" fontAlgn="auto">
              <a:lnSpc>
                <a:spcPct val="100000"/>
              </a:lnSpc>
              <a:spcBef>
                <a:spcPts val="0"/>
              </a:spcBef>
              <a:spcAft>
                <a:spcPts val="0"/>
              </a:spcAft>
              <a:buClrTx/>
              <a:buSzTx/>
              <a:buFontTx/>
              <a:buNone/>
              <a:tabLst/>
            </a:pPr>
            <a:endParaRPr kumimoji="0" b="0" i="0" u="none" strike="noStrike" kern="0" cap="none" spc="0" normalizeH="0" baseline="0" noProof="0">
              <a:ln>
                <a:noFill/>
              </a:ln>
              <a:solidFill>
                <a:srgbClr val="4F5860"/>
              </a:solidFill>
              <a:effectLst/>
              <a:uLnTx/>
              <a:uFillTx/>
            </a:endParaRPr>
          </a:p>
        </p:txBody>
      </p:sp>
      <p:sp>
        <p:nvSpPr>
          <p:cNvPr id="3" name="Footer Placeholder 66">
            <a:extLst>
              <a:ext uri="{FF2B5EF4-FFF2-40B4-BE49-F238E27FC236}">
                <a16:creationId xmlns:a16="http://schemas.microsoft.com/office/drawing/2014/main" id="{07F7C4CB-3D01-47C2-FC3C-7701C5341730}"/>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11" name="Title 6">
            <a:extLst>
              <a:ext uri="{FF2B5EF4-FFF2-40B4-BE49-F238E27FC236}">
                <a16:creationId xmlns:a16="http://schemas.microsoft.com/office/drawing/2014/main" id="{3712A25C-AB6D-81A9-BBF7-68C895E83765}"/>
              </a:ext>
            </a:extLst>
          </p:cNvPr>
          <p:cNvSpPr>
            <a:spLocks noGrp="1"/>
          </p:cNvSpPr>
          <p:nvPr>
            <p:ph type="title"/>
          </p:nvPr>
        </p:nvSpPr>
        <p:spPr>
          <a:xfrm>
            <a:off x="493712" y="342900"/>
            <a:ext cx="5721351" cy="682625"/>
          </a:xfrm>
        </p:spPr>
        <p:txBody>
          <a:bodyPr anchor="t"/>
          <a:lstStyle/>
          <a:p>
            <a:r>
              <a:rPr lang="en-US"/>
              <a:t>Click to edit Master title style</a:t>
            </a:r>
          </a:p>
        </p:txBody>
      </p:sp>
      <p:sp>
        <p:nvSpPr>
          <p:cNvPr id="12" name="Subtitle 2">
            <a:extLst>
              <a:ext uri="{FF2B5EF4-FFF2-40B4-BE49-F238E27FC236}">
                <a16:creationId xmlns:a16="http://schemas.microsoft.com/office/drawing/2014/main" id="{FA89F9B7-AE4B-C7FE-569A-F8DCD63515C3}"/>
              </a:ext>
            </a:extLst>
          </p:cNvPr>
          <p:cNvSpPr>
            <a:spLocks noGrp="1"/>
          </p:cNvSpPr>
          <p:nvPr>
            <p:ph type="subTitle" idx="1"/>
          </p:nvPr>
        </p:nvSpPr>
        <p:spPr>
          <a:xfrm>
            <a:off x="502179" y="1032607"/>
            <a:ext cx="5712883" cy="338993"/>
          </a:xfrm>
        </p:spPr>
        <p:txBody>
          <a:bodyPr anchor="t"/>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Content Placeholder 18">
            <a:extLst>
              <a:ext uri="{FF2B5EF4-FFF2-40B4-BE49-F238E27FC236}">
                <a16:creationId xmlns:a16="http://schemas.microsoft.com/office/drawing/2014/main" id="{0802ECFE-2E8E-5C84-DEFB-1B038B1E07DA}"/>
              </a:ext>
            </a:extLst>
          </p:cNvPr>
          <p:cNvSpPr>
            <a:spLocks noGrp="1"/>
          </p:cNvSpPr>
          <p:nvPr>
            <p:ph sz="quarter" idx="10"/>
          </p:nvPr>
        </p:nvSpPr>
        <p:spPr>
          <a:xfrm>
            <a:off x="493287" y="1719645"/>
            <a:ext cx="5712883" cy="4449380"/>
          </a:xfrm>
        </p:spPr>
        <p:txBody>
          <a:bodyPr anchor="t"/>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39941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3 Left Standar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92301F5-B69E-0D3C-D5CC-BB2804BD19A5}"/>
              </a:ext>
            </a:extLst>
          </p:cNvPr>
          <p:cNvSpPr/>
          <p:nvPr/>
        </p:nvSpPr>
        <p:spPr>
          <a:xfrm>
            <a:off x="0" y="0"/>
            <a:ext cx="367937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4" name="Footer Placeholder 66">
            <a:extLst>
              <a:ext uri="{FF2B5EF4-FFF2-40B4-BE49-F238E27FC236}">
                <a16:creationId xmlns:a16="http://schemas.microsoft.com/office/drawing/2014/main" id="{8D4A966B-B53C-F2FC-D0C5-9BA62824DD64}"/>
              </a:ext>
            </a:extLst>
          </p:cNvPr>
          <p:cNvSpPr>
            <a:spLocks noGrp="1"/>
          </p:cNvSpPr>
          <p:nvPr>
            <p:ph type="ftr" sz="quarter" idx="3"/>
          </p:nvPr>
        </p:nvSpPr>
        <p:spPr>
          <a:xfrm>
            <a:off x="4305300" y="6405456"/>
            <a:ext cx="6438900"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7" name="Title 1">
            <a:extLst>
              <a:ext uri="{FF2B5EF4-FFF2-40B4-BE49-F238E27FC236}">
                <a16:creationId xmlns:a16="http://schemas.microsoft.com/office/drawing/2014/main" id="{101E4FAE-DFE1-398C-FA0F-A0388EBC430E}"/>
              </a:ext>
            </a:extLst>
          </p:cNvPr>
          <p:cNvSpPr>
            <a:spLocks noGrp="1"/>
          </p:cNvSpPr>
          <p:nvPr>
            <p:ph type="title"/>
          </p:nvPr>
        </p:nvSpPr>
        <p:spPr>
          <a:xfrm>
            <a:off x="495301" y="1719263"/>
            <a:ext cx="2859087" cy="2134979"/>
          </a:xfrm>
        </p:spPr>
        <p:txBody>
          <a:bodyPr anchor="ctr">
            <a:noAutofit/>
          </a:bodyPr>
          <a:lstStyle>
            <a:lvl1pPr>
              <a:defRPr sz="4400">
                <a:solidFill>
                  <a:schemeClr val="bg1"/>
                </a:solidFill>
              </a:defRPr>
            </a:lvl1pPr>
          </a:lstStyle>
          <a:p>
            <a:r>
              <a:rPr lang="en-US"/>
              <a:t>Click to edit Master title style</a:t>
            </a:r>
          </a:p>
        </p:txBody>
      </p:sp>
      <p:sp>
        <p:nvSpPr>
          <p:cNvPr id="8" name="Subtitle 2">
            <a:extLst>
              <a:ext uri="{FF2B5EF4-FFF2-40B4-BE49-F238E27FC236}">
                <a16:creationId xmlns:a16="http://schemas.microsoft.com/office/drawing/2014/main" id="{B668BEB9-9234-7E67-DA77-389713DE99B5}"/>
              </a:ext>
            </a:extLst>
          </p:cNvPr>
          <p:cNvSpPr>
            <a:spLocks noGrp="1"/>
          </p:cNvSpPr>
          <p:nvPr>
            <p:ph type="subTitle" idx="1"/>
          </p:nvPr>
        </p:nvSpPr>
        <p:spPr>
          <a:xfrm>
            <a:off x="495302" y="3997587"/>
            <a:ext cx="2859086" cy="628841"/>
          </a:xfrm>
        </p:spPr>
        <p:txBody>
          <a:bodyPr/>
          <a:lstStyle>
            <a:lvl1pPr marL="0" indent="0" algn="l">
              <a:buNone/>
              <a:defRPr sz="2100">
                <a:solidFill>
                  <a:schemeClr val="bg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Content Placeholder 18">
            <a:extLst>
              <a:ext uri="{FF2B5EF4-FFF2-40B4-BE49-F238E27FC236}">
                <a16:creationId xmlns:a16="http://schemas.microsoft.com/office/drawing/2014/main" id="{8789FD9D-6C75-950D-5E12-9EAC4570C8DB}"/>
              </a:ext>
            </a:extLst>
          </p:cNvPr>
          <p:cNvSpPr>
            <a:spLocks noGrp="1"/>
          </p:cNvSpPr>
          <p:nvPr>
            <p:ph sz="quarter" idx="10"/>
          </p:nvPr>
        </p:nvSpPr>
        <p:spPr>
          <a:xfrm>
            <a:off x="4305300" y="682625"/>
            <a:ext cx="7391400" cy="5489607"/>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raphic 10">
            <a:extLst>
              <a:ext uri="{FF2B5EF4-FFF2-40B4-BE49-F238E27FC236}">
                <a16:creationId xmlns:a16="http://schemas.microsoft.com/office/drawing/2014/main" id="{0FF3B821-C1A6-2271-E3E1-099796B307EF}"/>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
        <p:nvSpPr>
          <p:cNvPr id="2" name="TextBox 1">
            <a:extLst>
              <a:ext uri="{FF2B5EF4-FFF2-40B4-BE49-F238E27FC236}">
                <a16:creationId xmlns:a16="http://schemas.microsoft.com/office/drawing/2014/main" id="{3C66DF71-054C-5BA0-B7F5-C1AF6620EFC7}"/>
              </a:ext>
            </a:extLst>
          </p:cNvPr>
          <p:cNvSpPr txBox="1"/>
          <p:nvPr userDrawn="1"/>
        </p:nvSpPr>
        <p:spPr>
          <a:xfrm>
            <a:off x="4301339" y="6562481"/>
            <a:ext cx="5029200" cy="107722"/>
          </a:xfrm>
          <a:prstGeom prst="rect">
            <a:avLst/>
          </a:prstGeom>
          <a:noFill/>
        </p:spPr>
        <p:txBody>
          <a:bodyPr wrap="square" lIns="0" tIns="0" rIns="0" bIns="0">
            <a:spAutoFit/>
          </a:bodyPr>
          <a:lstStyle/>
          <a:p>
            <a:r>
              <a:rPr lang="en-US" sz="700">
                <a:solidFill>
                  <a:schemeClr val="tx2"/>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37020507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3 Left Stacke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92301F5-B69E-0D3C-D5CC-BB2804BD19A5}"/>
              </a:ext>
            </a:extLst>
          </p:cNvPr>
          <p:cNvSpPr/>
          <p:nvPr/>
        </p:nvSpPr>
        <p:spPr>
          <a:xfrm>
            <a:off x="0" y="0"/>
            <a:ext cx="367937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4" name="Footer Placeholder 66">
            <a:extLst>
              <a:ext uri="{FF2B5EF4-FFF2-40B4-BE49-F238E27FC236}">
                <a16:creationId xmlns:a16="http://schemas.microsoft.com/office/drawing/2014/main" id="{5A937196-A9E2-700D-0EF2-E8B6E1F366B1}"/>
              </a:ext>
            </a:extLst>
          </p:cNvPr>
          <p:cNvSpPr>
            <a:spLocks noGrp="1"/>
          </p:cNvSpPr>
          <p:nvPr>
            <p:ph type="ftr" sz="quarter" idx="3"/>
          </p:nvPr>
        </p:nvSpPr>
        <p:spPr>
          <a:xfrm>
            <a:off x="4305300" y="6405456"/>
            <a:ext cx="6438900"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8" name="Title 1">
            <a:extLst>
              <a:ext uri="{FF2B5EF4-FFF2-40B4-BE49-F238E27FC236}">
                <a16:creationId xmlns:a16="http://schemas.microsoft.com/office/drawing/2014/main" id="{BBFBCBD4-DA05-4F0F-6763-A747F0C03298}"/>
              </a:ext>
            </a:extLst>
          </p:cNvPr>
          <p:cNvSpPr>
            <a:spLocks noGrp="1"/>
          </p:cNvSpPr>
          <p:nvPr>
            <p:ph type="title"/>
          </p:nvPr>
        </p:nvSpPr>
        <p:spPr>
          <a:xfrm>
            <a:off x="495301" y="1719263"/>
            <a:ext cx="2859087" cy="2134979"/>
          </a:xfrm>
        </p:spPr>
        <p:txBody>
          <a:bodyPr anchor="ctr">
            <a:noAutofit/>
          </a:bodyPr>
          <a:lstStyle>
            <a:lvl1pPr>
              <a:defRPr sz="4400">
                <a:solidFill>
                  <a:schemeClr val="bg1"/>
                </a:solidFill>
              </a:defRPr>
            </a:lvl1pPr>
          </a:lstStyle>
          <a:p>
            <a:r>
              <a:rPr lang="en-US"/>
              <a:t>Click to edit Master title style</a:t>
            </a:r>
          </a:p>
        </p:txBody>
      </p:sp>
      <p:sp>
        <p:nvSpPr>
          <p:cNvPr id="9" name="Subtitle 2">
            <a:extLst>
              <a:ext uri="{FF2B5EF4-FFF2-40B4-BE49-F238E27FC236}">
                <a16:creationId xmlns:a16="http://schemas.microsoft.com/office/drawing/2014/main" id="{D57F8780-D8D3-B2FE-FCC9-87A2007A9395}"/>
              </a:ext>
            </a:extLst>
          </p:cNvPr>
          <p:cNvSpPr>
            <a:spLocks noGrp="1"/>
          </p:cNvSpPr>
          <p:nvPr>
            <p:ph type="subTitle" idx="1"/>
          </p:nvPr>
        </p:nvSpPr>
        <p:spPr>
          <a:xfrm>
            <a:off x="495302" y="3997587"/>
            <a:ext cx="2859086" cy="628841"/>
          </a:xfrm>
        </p:spPr>
        <p:txBody>
          <a:bodyPr/>
          <a:lstStyle>
            <a:lvl1pPr marL="0" indent="0" algn="l">
              <a:buNone/>
              <a:defRPr sz="2100">
                <a:solidFill>
                  <a:schemeClr val="bg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Content Placeholder 18">
            <a:extLst>
              <a:ext uri="{FF2B5EF4-FFF2-40B4-BE49-F238E27FC236}">
                <a16:creationId xmlns:a16="http://schemas.microsoft.com/office/drawing/2014/main" id="{9F0DE43A-B43F-04DF-5809-BD4DF20EF55C}"/>
              </a:ext>
            </a:extLst>
          </p:cNvPr>
          <p:cNvSpPr>
            <a:spLocks noGrp="1"/>
          </p:cNvSpPr>
          <p:nvPr>
            <p:ph sz="quarter" idx="10"/>
          </p:nvPr>
        </p:nvSpPr>
        <p:spPr>
          <a:xfrm>
            <a:off x="4305300" y="682626"/>
            <a:ext cx="7391400" cy="3771900"/>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8">
            <a:extLst>
              <a:ext uri="{FF2B5EF4-FFF2-40B4-BE49-F238E27FC236}">
                <a16:creationId xmlns:a16="http://schemas.microsoft.com/office/drawing/2014/main" id="{EF926072-FA82-9BDD-9A63-4F6798DC9F61}"/>
              </a:ext>
            </a:extLst>
          </p:cNvPr>
          <p:cNvSpPr>
            <a:spLocks noGrp="1"/>
          </p:cNvSpPr>
          <p:nvPr>
            <p:ph sz="quarter" idx="11"/>
          </p:nvPr>
        </p:nvSpPr>
        <p:spPr>
          <a:xfrm>
            <a:off x="4315631" y="4797425"/>
            <a:ext cx="7391400" cy="1377949"/>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Graphic 11">
            <a:extLst>
              <a:ext uri="{FF2B5EF4-FFF2-40B4-BE49-F238E27FC236}">
                <a16:creationId xmlns:a16="http://schemas.microsoft.com/office/drawing/2014/main" id="{88A2565B-B998-5BF9-DC86-72456ED8ED8E}"/>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
        <p:nvSpPr>
          <p:cNvPr id="2" name="TextBox 1">
            <a:extLst>
              <a:ext uri="{FF2B5EF4-FFF2-40B4-BE49-F238E27FC236}">
                <a16:creationId xmlns:a16="http://schemas.microsoft.com/office/drawing/2014/main" id="{E9AF60B4-CC56-BD9A-1302-702EEC8C61AB}"/>
              </a:ext>
            </a:extLst>
          </p:cNvPr>
          <p:cNvSpPr txBox="1"/>
          <p:nvPr userDrawn="1"/>
        </p:nvSpPr>
        <p:spPr>
          <a:xfrm>
            <a:off x="4301339" y="6562481"/>
            <a:ext cx="5029200" cy="107722"/>
          </a:xfrm>
          <a:prstGeom prst="rect">
            <a:avLst/>
          </a:prstGeom>
          <a:noFill/>
        </p:spPr>
        <p:txBody>
          <a:bodyPr wrap="square" lIns="0" tIns="0" rIns="0" bIns="0">
            <a:spAutoFit/>
          </a:bodyPr>
          <a:lstStyle/>
          <a:p>
            <a:r>
              <a:rPr lang="en-US" sz="700">
                <a:solidFill>
                  <a:schemeClr val="tx2"/>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19741372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3 Left Column Content">
    <p:spTree>
      <p:nvGrpSpPr>
        <p:cNvPr id="1" name=""/>
        <p:cNvGrpSpPr/>
        <p:nvPr/>
      </p:nvGrpSpPr>
      <p:grpSpPr>
        <a:xfrm>
          <a:off x="0" y="0"/>
          <a:ext cx="0" cy="0"/>
          <a:chOff x="0" y="0"/>
          <a:chExt cx="0" cy="0"/>
        </a:xfrm>
      </p:grpSpPr>
      <p:sp>
        <p:nvSpPr>
          <p:cNvPr id="13" name="Content Placeholder 18">
            <a:extLst>
              <a:ext uri="{FF2B5EF4-FFF2-40B4-BE49-F238E27FC236}">
                <a16:creationId xmlns:a16="http://schemas.microsoft.com/office/drawing/2014/main" id="{56B29AAB-9836-4222-2373-744FDA40340B}"/>
              </a:ext>
            </a:extLst>
          </p:cNvPr>
          <p:cNvSpPr>
            <a:spLocks noGrp="1"/>
          </p:cNvSpPr>
          <p:nvPr>
            <p:ph sz="quarter" idx="10"/>
          </p:nvPr>
        </p:nvSpPr>
        <p:spPr>
          <a:xfrm>
            <a:off x="4305300" y="682625"/>
            <a:ext cx="2263775" cy="5486399"/>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8">
            <a:extLst>
              <a:ext uri="{FF2B5EF4-FFF2-40B4-BE49-F238E27FC236}">
                <a16:creationId xmlns:a16="http://schemas.microsoft.com/office/drawing/2014/main" id="{A4DE8E80-1063-4890-3D52-F10E95DE8406}"/>
              </a:ext>
            </a:extLst>
          </p:cNvPr>
          <p:cNvSpPr>
            <a:spLocks noGrp="1"/>
          </p:cNvSpPr>
          <p:nvPr>
            <p:ph sz="quarter" idx="11"/>
          </p:nvPr>
        </p:nvSpPr>
        <p:spPr>
          <a:xfrm>
            <a:off x="6752895" y="690564"/>
            <a:ext cx="4954135" cy="5486398"/>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892301F5-B69E-0D3C-D5CC-BB2804BD19A5}"/>
              </a:ext>
            </a:extLst>
          </p:cNvPr>
          <p:cNvSpPr/>
          <p:nvPr/>
        </p:nvSpPr>
        <p:spPr>
          <a:xfrm>
            <a:off x="0" y="0"/>
            <a:ext cx="367937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24" name="Title 1">
            <a:extLst>
              <a:ext uri="{FF2B5EF4-FFF2-40B4-BE49-F238E27FC236}">
                <a16:creationId xmlns:a16="http://schemas.microsoft.com/office/drawing/2014/main" id="{36D7EDEC-72BB-0FBE-E163-12DA39051EA0}"/>
              </a:ext>
            </a:extLst>
          </p:cNvPr>
          <p:cNvSpPr>
            <a:spLocks noGrp="1"/>
          </p:cNvSpPr>
          <p:nvPr>
            <p:ph type="title"/>
          </p:nvPr>
        </p:nvSpPr>
        <p:spPr>
          <a:xfrm>
            <a:off x="495301" y="1719263"/>
            <a:ext cx="2859087" cy="2134979"/>
          </a:xfrm>
        </p:spPr>
        <p:txBody>
          <a:bodyPr anchor="ctr">
            <a:noAutofit/>
          </a:bodyPr>
          <a:lstStyle>
            <a:lvl1pPr>
              <a:defRPr sz="4400">
                <a:solidFill>
                  <a:schemeClr val="bg1"/>
                </a:solidFill>
              </a:defRPr>
            </a:lvl1pPr>
          </a:lstStyle>
          <a:p>
            <a:r>
              <a:rPr lang="en-US"/>
              <a:t>Click to edit Master title style</a:t>
            </a:r>
          </a:p>
        </p:txBody>
      </p:sp>
      <p:sp>
        <p:nvSpPr>
          <p:cNvPr id="2" name="Subtitle 2">
            <a:extLst>
              <a:ext uri="{FF2B5EF4-FFF2-40B4-BE49-F238E27FC236}">
                <a16:creationId xmlns:a16="http://schemas.microsoft.com/office/drawing/2014/main" id="{A2F6A416-87B9-D95B-4D6C-EC86BD6B64F5}"/>
              </a:ext>
            </a:extLst>
          </p:cNvPr>
          <p:cNvSpPr>
            <a:spLocks noGrp="1"/>
          </p:cNvSpPr>
          <p:nvPr>
            <p:ph type="subTitle" idx="1"/>
          </p:nvPr>
        </p:nvSpPr>
        <p:spPr>
          <a:xfrm>
            <a:off x="495302" y="3997587"/>
            <a:ext cx="2859086" cy="628841"/>
          </a:xfrm>
        </p:spPr>
        <p:txBody>
          <a:bodyPr/>
          <a:lstStyle>
            <a:lvl1pPr marL="0" indent="0" algn="l">
              <a:buNone/>
              <a:defRPr sz="2100">
                <a:solidFill>
                  <a:schemeClr val="bg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66">
            <a:extLst>
              <a:ext uri="{FF2B5EF4-FFF2-40B4-BE49-F238E27FC236}">
                <a16:creationId xmlns:a16="http://schemas.microsoft.com/office/drawing/2014/main" id="{0D705D89-7F64-DEBF-AD72-C0380014CD33}"/>
              </a:ext>
            </a:extLst>
          </p:cNvPr>
          <p:cNvSpPr>
            <a:spLocks noGrp="1"/>
          </p:cNvSpPr>
          <p:nvPr>
            <p:ph type="ftr" sz="quarter" idx="3"/>
          </p:nvPr>
        </p:nvSpPr>
        <p:spPr>
          <a:xfrm>
            <a:off x="4305300" y="6405456"/>
            <a:ext cx="6438900" cy="107722"/>
          </a:xfrm>
          <a:prstGeom prst="rect">
            <a:avLst/>
          </a:prstGeom>
        </p:spPr>
        <p:txBody>
          <a:bodyPr vert="horz" lIns="0" tIns="0" rIns="0" bIns="0" rtlCol="0" anchor="b"/>
          <a:lstStyle>
            <a:lvl1pPr algn="l">
              <a:defRPr sz="700">
                <a:solidFill>
                  <a:schemeClr val="tx2"/>
                </a:solidFill>
              </a:defRPr>
            </a:lvl1pPr>
          </a:lstStyle>
          <a:p>
            <a:endParaRPr lang="en-US"/>
          </a:p>
        </p:txBody>
      </p:sp>
      <p:pic>
        <p:nvPicPr>
          <p:cNvPr id="15" name="Graphic 14">
            <a:extLst>
              <a:ext uri="{FF2B5EF4-FFF2-40B4-BE49-F238E27FC236}">
                <a16:creationId xmlns:a16="http://schemas.microsoft.com/office/drawing/2014/main" id="{DDD8AC79-0A9C-4390-C9DE-85891A71D533}"/>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
        <p:nvSpPr>
          <p:cNvPr id="3" name="TextBox 2">
            <a:extLst>
              <a:ext uri="{FF2B5EF4-FFF2-40B4-BE49-F238E27FC236}">
                <a16:creationId xmlns:a16="http://schemas.microsoft.com/office/drawing/2014/main" id="{A2F24600-DD81-1C90-6E3F-FD1DE119855D}"/>
              </a:ext>
            </a:extLst>
          </p:cNvPr>
          <p:cNvSpPr txBox="1"/>
          <p:nvPr userDrawn="1"/>
        </p:nvSpPr>
        <p:spPr>
          <a:xfrm>
            <a:off x="4301339" y="6562481"/>
            <a:ext cx="5029200" cy="107722"/>
          </a:xfrm>
          <a:prstGeom prst="rect">
            <a:avLst/>
          </a:prstGeom>
          <a:noFill/>
        </p:spPr>
        <p:txBody>
          <a:bodyPr wrap="square" lIns="0" tIns="0" rIns="0" bIns="0">
            <a:spAutoFit/>
          </a:bodyPr>
          <a:lstStyle/>
          <a:p>
            <a:r>
              <a:rPr lang="en-US" sz="700">
                <a:solidFill>
                  <a:schemeClr val="tx2"/>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15991607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1/3 Left Standar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92301F5-B69E-0D3C-D5CC-BB2804BD19A5}"/>
              </a:ext>
            </a:extLst>
          </p:cNvPr>
          <p:cNvSpPr/>
          <p:nvPr/>
        </p:nvSpPr>
        <p:spPr>
          <a:xfrm>
            <a:off x="0" y="0"/>
            <a:ext cx="367937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4" name="Footer Placeholder 66">
            <a:extLst>
              <a:ext uri="{FF2B5EF4-FFF2-40B4-BE49-F238E27FC236}">
                <a16:creationId xmlns:a16="http://schemas.microsoft.com/office/drawing/2014/main" id="{8D4A966B-B53C-F2FC-D0C5-9BA62824DD64}"/>
              </a:ext>
            </a:extLst>
          </p:cNvPr>
          <p:cNvSpPr>
            <a:spLocks noGrp="1"/>
          </p:cNvSpPr>
          <p:nvPr>
            <p:ph type="ftr" sz="quarter" idx="3"/>
          </p:nvPr>
        </p:nvSpPr>
        <p:spPr>
          <a:xfrm>
            <a:off x="4305300" y="6405456"/>
            <a:ext cx="6438900"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7" name="Title 1">
            <a:extLst>
              <a:ext uri="{FF2B5EF4-FFF2-40B4-BE49-F238E27FC236}">
                <a16:creationId xmlns:a16="http://schemas.microsoft.com/office/drawing/2014/main" id="{101E4FAE-DFE1-398C-FA0F-A0388EBC430E}"/>
              </a:ext>
            </a:extLst>
          </p:cNvPr>
          <p:cNvSpPr>
            <a:spLocks noGrp="1"/>
          </p:cNvSpPr>
          <p:nvPr>
            <p:ph type="title"/>
          </p:nvPr>
        </p:nvSpPr>
        <p:spPr>
          <a:xfrm>
            <a:off x="495301" y="1719263"/>
            <a:ext cx="2859087" cy="2134979"/>
          </a:xfrm>
        </p:spPr>
        <p:txBody>
          <a:bodyPr anchor="ctr">
            <a:noAutofit/>
          </a:bodyPr>
          <a:lstStyle>
            <a:lvl1pPr>
              <a:defRPr sz="4400">
                <a:solidFill>
                  <a:schemeClr val="bg1"/>
                </a:solidFill>
              </a:defRPr>
            </a:lvl1pPr>
          </a:lstStyle>
          <a:p>
            <a:r>
              <a:rPr lang="en-US"/>
              <a:t>Click to edit Master title style</a:t>
            </a:r>
          </a:p>
        </p:txBody>
      </p:sp>
      <p:sp>
        <p:nvSpPr>
          <p:cNvPr id="8" name="Subtitle 2">
            <a:extLst>
              <a:ext uri="{FF2B5EF4-FFF2-40B4-BE49-F238E27FC236}">
                <a16:creationId xmlns:a16="http://schemas.microsoft.com/office/drawing/2014/main" id="{B668BEB9-9234-7E67-DA77-389713DE99B5}"/>
              </a:ext>
            </a:extLst>
          </p:cNvPr>
          <p:cNvSpPr>
            <a:spLocks noGrp="1"/>
          </p:cNvSpPr>
          <p:nvPr>
            <p:ph type="subTitle" idx="1"/>
          </p:nvPr>
        </p:nvSpPr>
        <p:spPr>
          <a:xfrm>
            <a:off x="495302" y="3997587"/>
            <a:ext cx="2859086" cy="628841"/>
          </a:xfrm>
        </p:spPr>
        <p:txBody>
          <a:bodyPr/>
          <a:lstStyle>
            <a:lvl1pPr marL="0" indent="0" algn="l">
              <a:buNone/>
              <a:defRPr sz="2100">
                <a:solidFill>
                  <a:schemeClr val="accent2"/>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Content Placeholder 18">
            <a:extLst>
              <a:ext uri="{FF2B5EF4-FFF2-40B4-BE49-F238E27FC236}">
                <a16:creationId xmlns:a16="http://schemas.microsoft.com/office/drawing/2014/main" id="{8789FD9D-6C75-950D-5E12-9EAC4570C8DB}"/>
              </a:ext>
            </a:extLst>
          </p:cNvPr>
          <p:cNvSpPr>
            <a:spLocks noGrp="1"/>
          </p:cNvSpPr>
          <p:nvPr>
            <p:ph sz="quarter" idx="10"/>
          </p:nvPr>
        </p:nvSpPr>
        <p:spPr>
          <a:xfrm>
            <a:off x="4305300" y="682625"/>
            <a:ext cx="7391400" cy="5489607"/>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raphic 10">
            <a:extLst>
              <a:ext uri="{FF2B5EF4-FFF2-40B4-BE49-F238E27FC236}">
                <a16:creationId xmlns:a16="http://schemas.microsoft.com/office/drawing/2014/main" id="{0FF3B821-C1A6-2271-E3E1-099796B307EF}"/>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
        <p:nvSpPr>
          <p:cNvPr id="2" name="TextBox 1">
            <a:extLst>
              <a:ext uri="{FF2B5EF4-FFF2-40B4-BE49-F238E27FC236}">
                <a16:creationId xmlns:a16="http://schemas.microsoft.com/office/drawing/2014/main" id="{3C66DF71-054C-5BA0-B7F5-C1AF6620EFC7}"/>
              </a:ext>
            </a:extLst>
          </p:cNvPr>
          <p:cNvSpPr txBox="1"/>
          <p:nvPr userDrawn="1"/>
        </p:nvSpPr>
        <p:spPr>
          <a:xfrm>
            <a:off x="4301339" y="6562481"/>
            <a:ext cx="5029200" cy="107722"/>
          </a:xfrm>
          <a:prstGeom prst="rect">
            <a:avLst/>
          </a:prstGeom>
          <a:noFill/>
        </p:spPr>
        <p:txBody>
          <a:bodyPr wrap="square" lIns="0" tIns="0" rIns="0" bIns="0">
            <a:spAutoFit/>
          </a:bodyPr>
          <a:lstStyle/>
          <a:p>
            <a:r>
              <a:rPr lang="en-US" sz="700">
                <a:solidFill>
                  <a:schemeClr val="tx2"/>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28022755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Casi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CC4EA630-F31C-B26E-C41D-1AE51E2F93D3}"/>
              </a:ext>
            </a:extLst>
          </p:cNvPr>
          <p:cNvSpPr/>
          <p:nvPr userDrawn="1"/>
        </p:nvSpPr>
        <p:spPr>
          <a:xfrm>
            <a:off x="0" y="-18997"/>
            <a:ext cx="12192000" cy="5865318"/>
          </a:xfrm>
          <a:custGeom>
            <a:avLst/>
            <a:gdLst>
              <a:gd name="connsiteX0" fmla="*/ 0 w 12192000"/>
              <a:gd name="connsiteY0" fmla="*/ 0 h 5865318"/>
              <a:gd name="connsiteX1" fmla="*/ 797535 w 12192000"/>
              <a:gd name="connsiteY1" fmla="*/ 0 h 5865318"/>
              <a:gd name="connsiteX2" fmla="*/ 5613390 w 12192000"/>
              <a:gd name="connsiteY2" fmla="*/ 4815480 h 5865318"/>
              <a:gd name="connsiteX3" fmla="*/ 6578610 w 12192000"/>
              <a:gd name="connsiteY3" fmla="*/ 4815480 h 5865318"/>
              <a:gd name="connsiteX4" fmla="*/ 11261178 w 12192000"/>
              <a:gd name="connsiteY4" fmla="*/ 133278 h 5865318"/>
              <a:gd name="connsiteX5" fmla="*/ 11394466 w 12192000"/>
              <a:gd name="connsiteY5" fmla="*/ 0 h 5865318"/>
              <a:gd name="connsiteX6" fmla="*/ 12192000 w 12192000"/>
              <a:gd name="connsiteY6" fmla="*/ 0 h 5865318"/>
              <a:gd name="connsiteX7" fmla="*/ 12192000 w 12192000"/>
              <a:gd name="connsiteY7" fmla="*/ 4291292 h 5865318"/>
              <a:gd name="connsiteX8" fmla="*/ 12130037 w 12192000"/>
              <a:gd name="connsiteY8" fmla="*/ 4353124 h 5865318"/>
              <a:gd name="connsiteX9" fmla="*/ 11617391 w 12192000"/>
              <a:gd name="connsiteY9" fmla="*/ 4864691 h 5865318"/>
              <a:gd name="connsiteX10" fmla="*/ 9228878 w 12192000"/>
              <a:gd name="connsiteY10" fmla="*/ 5865318 h 5865318"/>
              <a:gd name="connsiteX11" fmla="*/ 2979482 w 12192000"/>
              <a:gd name="connsiteY11" fmla="*/ 5865318 h 5865318"/>
              <a:gd name="connsiteX12" fmla="*/ 574609 w 12192000"/>
              <a:gd name="connsiteY12" fmla="*/ 4864691 h 5865318"/>
              <a:gd name="connsiteX13" fmla="*/ 263974 w 12192000"/>
              <a:gd name="connsiteY13" fmla="*/ 4554710 h 5865318"/>
              <a:gd name="connsiteX14" fmla="*/ 0 w 12192000"/>
              <a:gd name="connsiteY14" fmla="*/ 4291292 h 5865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5865318">
                <a:moveTo>
                  <a:pt x="0" y="0"/>
                </a:moveTo>
                <a:lnTo>
                  <a:pt x="797535" y="0"/>
                </a:lnTo>
                <a:lnTo>
                  <a:pt x="5613390" y="4815480"/>
                </a:lnTo>
                <a:cubicBezTo>
                  <a:pt x="5875144" y="5094344"/>
                  <a:pt x="6316856" y="5094344"/>
                  <a:pt x="6578610" y="4815480"/>
                </a:cubicBezTo>
                <a:cubicBezTo>
                  <a:pt x="8984505" y="2409773"/>
                  <a:pt x="10413006" y="981384"/>
                  <a:pt x="11261178" y="133278"/>
                </a:cubicBezTo>
                <a:lnTo>
                  <a:pt x="11394466" y="0"/>
                </a:lnTo>
                <a:lnTo>
                  <a:pt x="12192000" y="0"/>
                </a:lnTo>
                <a:lnTo>
                  <a:pt x="12192000" y="4291292"/>
                </a:lnTo>
                <a:lnTo>
                  <a:pt x="12130037" y="4353124"/>
                </a:lnTo>
                <a:cubicBezTo>
                  <a:pt x="11617391" y="4864691"/>
                  <a:pt x="11617391" y="4864691"/>
                  <a:pt x="11617391" y="4864691"/>
                </a:cubicBezTo>
                <a:cubicBezTo>
                  <a:pt x="10979364" y="5504436"/>
                  <a:pt x="10112301" y="5865318"/>
                  <a:pt x="9228878" y="5865318"/>
                </a:cubicBezTo>
                <a:cubicBezTo>
                  <a:pt x="2979482" y="5865318"/>
                  <a:pt x="2979482" y="5865318"/>
                  <a:pt x="2979482" y="5865318"/>
                </a:cubicBezTo>
                <a:cubicBezTo>
                  <a:pt x="2079699" y="5865318"/>
                  <a:pt x="1212636" y="5504436"/>
                  <a:pt x="574609" y="4864691"/>
                </a:cubicBezTo>
                <a:cubicBezTo>
                  <a:pt x="467760" y="4758067"/>
                  <a:pt x="364250" y="4654775"/>
                  <a:pt x="263974" y="4554710"/>
                </a:cubicBezTo>
                <a:lnTo>
                  <a:pt x="0" y="4291292"/>
                </a:lnTo>
                <a:close/>
              </a:path>
            </a:pathLst>
          </a:custGeom>
          <a:gradFill flip="none" rotWithShape="1">
            <a:gsLst>
              <a:gs pos="56000">
                <a:srgbClr val="00D05D">
                  <a:lumMod val="60000"/>
                  <a:lumOff val="40000"/>
                  <a:alpha val="9000"/>
                </a:srgbClr>
              </a:gs>
              <a:gs pos="100000">
                <a:srgbClr val="00D05D">
                  <a:lumMod val="60000"/>
                  <a:lumOff val="40000"/>
                </a:srgbClr>
              </a:gs>
            </a:gsLst>
            <a:lin ang="2400000" scaled="0"/>
            <a:tileRect/>
          </a:gradFill>
          <a:ln>
            <a:noFill/>
          </a:ln>
        </p:spPr>
        <p:txBody>
          <a:bodyPr vert="horz" wrap="square" lIns="91440" tIns="45720" rIns="91440" bIns="45720" numCol="1" anchor="t" anchorCtr="0" compatLnSpc="1">
            <a:prstTxWarp prst="textNoShape">
              <a:avLst/>
            </a:prstTxWarp>
            <a:noAutofit/>
          </a:bodyPr>
          <a:lstStyle/>
          <a:p>
            <a:pPr marR="0" lvl="0" indent="0" fontAlgn="auto">
              <a:lnSpc>
                <a:spcPct val="100000"/>
              </a:lnSpc>
              <a:spcBef>
                <a:spcPts val="0"/>
              </a:spcBef>
              <a:spcAft>
                <a:spcPts val="0"/>
              </a:spcAft>
              <a:buClrTx/>
              <a:buSzTx/>
              <a:buFontTx/>
              <a:buNone/>
              <a:tabLst/>
            </a:pPr>
            <a:endParaRPr kumimoji="0" lang="en-US" b="0" i="0" u="none" strike="noStrike" kern="0" cap="none" spc="0" normalizeH="0" baseline="0">
              <a:ln>
                <a:noFill/>
              </a:ln>
              <a:solidFill>
                <a:srgbClr val="4F5860"/>
              </a:solidFill>
              <a:effectLst/>
              <a:uLnTx/>
              <a:uFillTx/>
            </a:endParaRPr>
          </a:p>
        </p:txBody>
      </p:sp>
      <p:sp>
        <p:nvSpPr>
          <p:cNvPr id="45" name="TextBox 44">
            <a:extLst>
              <a:ext uri="{FF2B5EF4-FFF2-40B4-BE49-F238E27FC236}">
                <a16:creationId xmlns:a16="http://schemas.microsoft.com/office/drawing/2014/main" id="{C23D7488-852F-762F-A2E7-25F02D52C105}"/>
              </a:ext>
            </a:extLst>
          </p:cNvPr>
          <p:cNvSpPr txBox="1"/>
          <p:nvPr userDrawn="1"/>
        </p:nvSpPr>
        <p:spPr>
          <a:xfrm>
            <a:off x="849313" y="6562481"/>
            <a:ext cx="5029200"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
        <p:nvSpPr>
          <p:cNvPr id="2" name="Title 1">
            <a:extLst>
              <a:ext uri="{FF2B5EF4-FFF2-40B4-BE49-F238E27FC236}">
                <a16:creationId xmlns:a16="http://schemas.microsoft.com/office/drawing/2014/main" id="{704C813F-B096-DE4B-F7F5-CE100A5968A2}"/>
              </a:ext>
            </a:extLst>
          </p:cNvPr>
          <p:cNvSpPr>
            <a:spLocks noGrp="1"/>
          </p:cNvSpPr>
          <p:nvPr>
            <p:ph type="ctrTitle"/>
          </p:nvPr>
        </p:nvSpPr>
        <p:spPr>
          <a:xfrm>
            <a:off x="793751" y="1731962"/>
            <a:ext cx="10536764" cy="2581299"/>
          </a:xfrm>
        </p:spPr>
        <p:txBody>
          <a:bodyPr anchor="ctr">
            <a:normAutofit/>
          </a:bodyPr>
          <a:lstStyle>
            <a:lvl1pPr algn="l">
              <a:lnSpc>
                <a:spcPct val="85000"/>
              </a:lnSpc>
              <a:defRPr lang="en-US" sz="8900" b="0" i="0" kern="1200" spc="-150" baseline="0" dirty="0">
                <a:solidFill>
                  <a:schemeClr val="bg1"/>
                </a:solidFill>
                <a:latin typeface="+mj-lt"/>
                <a:ea typeface="ES Build Full Bauhaus Medium" pitchFamily="2" charset="77"/>
                <a:cs typeface="+mj-cs"/>
              </a:defRPr>
            </a:lvl1pPr>
          </a:lstStyle>
          <a:p>
            <a:r>
              <a:rPr lang="en-US"/>
              <a:t>Click to edit Master title style</a:t>
            </a:r>
          </a:p>
        </p:txBody>
      </p:sp>
      <p:sp>
        <p:nvSpPr>
          <p:cNvPr id="3" name="Subtitle 2">
            <a:extLst>
              <a:ext uri="{FF2B5EF4-FFF2-40B4-BE49-F238E27FC236}">
                <a16:creationId xmlns:a16="http://schemas.microsoft.com/office/drawing/2014/main" id="{9479AD75-0283-2549-8AF7-47F3A5E764DE}"/>
              </a:ext>
            </a:extLst>
          </p:cNvPr>
          <p:cNvSpPr>
            <a:spLocks noGrp="1"/>
          </p:cNvSpPr>
          <p:nvPr>
            <p:ph type="subTitle" idx="1"/>
          </p:nvPr>
        </p:nvSpPr>
        <p:spPr>
          <a:xfrm>
            <a:off x="793751" y="4316414"/>
            <a:ext cx="10536764" cy="487705"/>
          </a:xfrm>
        </p:spPr>
        <p:txBody>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5" name="Straight Connector 4">
            <a:extLst>
              <a:ext uri="{FF2B5EF4-FFF2-40B4-BE49-F238E27FC236}">
                <a16:creationId xmlns:a16="http://schemas.microsoft.com/office/drawing/2014/main" id="{C0B1613D-DEBB-D92C-6186-0B896BF9C8FB}"/>
              </a:ext>
            </a:extLst>
          </p:cNvPr>
          <p:cNvCxnSpPr>
            <a:cxnSpLocks/>
          </p:cNvCxnSpPr>
          <p:nvPr userDrawn="1"/>
        </p:nvCxnSpPr>
        <p:spPr>
          <a:xfrm>
            <a:off x="782564" y="6167438"/>
            <a:ext cx="10547951" cy="0"/>
          </a:xfrm>
          <a:prstGeom prst="line">
            <a:avLst/>
          </a:prstGeom>
          <a:ln w="19050" cap="sq">
            <a:solidFill>
              <a:schemeClr val="bg1"/>
            </a:solidFill>
            <a:miter lim="800000"/>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7" name="Text Placeholder 12">
            <a:extLst>
              <a:ext uri="{FF2B5EF4-FFF2-40B4-BE49-F238E27FC236}">
                <a16:creationId xmlns:a16="http://schemas.microsoft.com/office/drawing/2014/main" id="{8F9DFEB2-1CC7-7CE1-82B7-DF521B8D1558}"/>
              </a:ext>
            </a:extLst>
          </p:cNvPr>
          <p:cNvSpPr>
            <a:spLocks noGrp="1"/>
          </p:cNvSpPr>
          <p:nvPr>
            <p:ph type="body" sz="quarter" idx="13" hasCustomPrompt="1"/>
          </p:nvPr>
        </p:nvSpPr>
        <p:spPr>
          <a:xfrm>
            <a:off x="793751" y="1528837"/>
            <a:ext cx="3276599" cy="274955"/>
          </a:xfrm>
        </p:spPr>
        <p:txBody>
          <a:bodyPr>
            <a:noAutofit/>
          </a:bodyPr>
          <a:lstStyle>
            <a:lvl1pPr marL="0" indent="0">
              <a:buNone/>
              <a:defRPr sz="1600" b="0" spc="0" baseline="0">
                <a:solidFill>
                  <a:schemeClr val="bg1"/>
                </a:solidFill>
                <a:latin typeface="ES Build Medium" pitchFamily="2" charset="0"/>
                <a:ea typeface="ES Build Medium" pitchFamily="2" charset="0"/>
              </a:defRPr>
            </a:lvl1pPr>
            <a:lvl2pPr>
              <a:defRPr b="0">
                <a:solidFill>
                  <a:schemeClr val="accent1"/>
                </a:solidFill>
              </a:defRPr>
            </a:lvl2pPr>
          </a:lstStyle>
          <a:p>
            <a:pPr lvl="0"/>
            <a:r>
              <a:rPr lang="en-US"/>
              <a:t>Date</a:t>
            </a:r>
          </a:p>
        </p:txBody>
      </p:sp>
      <p:sp>
        <p:nvSpPr>
          <p:cNvPr id="8" name="Text Placeholder 16">
            <a:extLst>
              <a:ext uri="{FF2B5EF4-FFF2-40B4-BE49-F238E27FC236}">
                <a16:creationId xmlns:a16="http://schemas.microsoft.com/office/drawing/2014/main" id="{EAEE6B6C-FAEE-6DEB-A14B-07FC28E579BE}"/>
              </a:ext>
            </a:extLst>
          </p:cNvPr>
          <p:cNvSpPr>
            <a:spLocks noGrp="1"/>
          </p:cNvSpPr>
          <p:nvPr>
            <p:ph type="body" sz="quarter" idx="14" hasCustomPrompt="1"/>
          </p:nvPr>
        </p:nvSpPr>
        <p:spPr>
          <a:xfrm>
            <a:off x="1766493" y="5140383"/>
            <a:ext cx="2893401" cy="682510"/>
          </a:xfrm>
        </p:spPr>
        <p:txBody>
          <a:bodyPr>
            <a:noAutofit/>
          </a:bodyPr>
          <a:lstStyle>
            <a:lvl1pPr marL="0" indent="0">
              <a:lnSpc>
                <a:spcPct val="80000"/>
              </a:lnSpc>
              <a:buNone/>
              <a:defRPr sz="2400">
                <a:solidFill>
                  <a:schemeClr val="bg1"/>
                </a:solidFill>
                <a:latin typeface="+mj-lt"/>
              </a:defRPr>
            </a:lvl1pPr>
            <a:lvl2pPr marL="0" indent="0">
              <a:lnSpc>
                <a:spcPct val="80000"/>
              </a:lnSpc>
              <a:buNone/>
              <a:defRPr sz="1600" b="0">
                <a:solidFill>
                  <a:schemeClr val="bg1"/>
                </a:solidFill>
              </a:defRPr>
            </a:lvl2pPr>
          </a:lstStyle>
          <a:p>
            <a:pPr lvl="0"/>
            <a:r>
              <a:rPr lang="en-US"/>
              <a:t>Speaker name</a:t>
            </a:r>
          </a:p>
          <a:p>
            <a:pPr lvl="1"/>
            <a:r>
              <a:rPr lang="en-US"/>
              <a:t>Title</a:t>
            </a:r>
          </a:p>
        </p:txBody>
      </p:sp>
      <p:sp>
        <p:nvSpPr>
          <p:cNvPr id="9" name="Picture Placeholder 22">
            <a:extLst>
              <a:ext uri="{FF2B5EF4-FFF2-40B4-BE49-F238E27FC236}">
                <a16:creationId xmlns:a16="http://schemas.microsoft.com/office/drawing/2014/main" id="{10B99C88-8821-3ECE-59C4-8A768F5F5CD0}"/>
              </a:ext>
            </a:extLst>
          </p:cNvPr>
          <p:cNvSpPr>
            <a:spLocks noGrp="1"/>
          </p:cNvSpPr>
          <p:nvPr>
            <p:ph type="pic" sz="quarter" idx="15"/>
          </p:nvPr>
        </p:nvSpPr>
        <p:spPr>
          <a:xfrm>
            <a:off x="782097" y="5081588"/>
            <a:ext cx="800100" cy="800100"/>
          </a:xfrm>
          <a:prstGeom prst="ellipse">
            <a:avLst/>
          </a:prstGeom>
          <a:solidFill>
            <a:schemeClr val="bg1"/>
          </a:solidFill>
        </p:spPr>
        <p:txBody>
          <a:bodyPr anchor="ctr"/>
          <a:lstStyle>
            <a:lvl1pPr marL="0" indent="0" algn="ctr">
              <a:buNone/>
              <a:defRPr sz="800"/>
            </a:lvl1pPr>
          </a:lstStyle>
          <a:p>
            <a:r>
              <a:rPr lang="en-US"/>
              <a:t>Click icon to add picture</a:t>
            </a:r>
          </a:p>
        </p:txBody>
      </p:sp>
      <p:sp>
        <p:nvSpPr>
          <p:cNvPr id="10" name="Text Placeholder 24">
            <a:extLst>
              <a:ext uri="{FF2B5EF4-FFF2-40B4-BE49-F238E27FC236}">
                <a16:creationId xmlns:a16="http://schemas.microsoft.com/office/drawing/2014/main" id="{741D5ABD-8D62-4CDF-78A3-9E4500076C4F}"/>
              </a:ext>
            </a:extLst>
          </p:cNvPr>
          <p:cNvSpPr>
            <a:spLocks noGrp="1"/>
          </p:cNvSpPr>
          <p:nvPr>
            <p:ph type="body" sz="quarter" idx="16" hasCustomPrompt="1"/>
          </p:nvPr>
        </p:nvSpPr>
        <p:spPr>
          <a:xfrm>
            <a:off x="6096594" y="5130801"/>
            <a:ext cx="2871027" cy="701675"/>
          </a:xfrm>
        </p:spPr>
        <p:txBody>
          <a:bodyPr>
            <a:noAutofit/>
          </a:bodyPr>
          <a:lstStyle>
            <a:lvl1pPr marL="0" indent="0">
              <a:lnSpc>
                <a:spcPct val="80000"/>
              </a:lnSpc>
              <a:buNone/>
              <a:defRPr sz="2400">
                <a:solidFill>
                  <a:schemeClr val="bg1"/>
                </a:solidFill>
                <a:latin typeface="+mj-lt"/>
              </a:defRPr>
            </a:lvl1pPr>
            <a:lvl2pPr marL="0" indent="0">
              <a:lnSpc>
                <a:spcPct val="80000"/>
              </a:lnSpc>
              <a:buNone/>
              <a:defRPr sz="1600" b="0">
                <a:solidFill>
                  <a:schemeClr val="bg1"/>
                </a:solidFill>
              </a:defRPr>
            </a:lvl2pPr>
          </a:lstStyle>
          <a:p>
            <a:pPr lvl="0"/>
            <a:r>
              <a:rPr lang="en-US"/>
              <a:t>Speaker name</a:t>
            </a:r>
          </a:p>
          <a:p>
            <a:pPr lvl="1"/>
            <a:r>
              <a:rPr lang="en-US"/>
              <a:t>Title</a:t>
            </a:r>
          </a:p>
        </p:txBody>
      </p:sp>
      <p:sp>
        <p:nvSpPr>
          <p:cNvPr id="11" name="Picture Placeholder 26">
            <a:extLst>
              <a:ext uri="{FF2B5EF4-FFF2-40B4-BE49-F238E27FC236}">
                <a16:creationId xmlns:a16="http://schemas.microsoft.com/office/drawing/2014/main" id="{B3AB9D6A-4AF9-E9BF-0B25-42675BF29C88}"/>
              </a:ext>
            </a:extLst>
          </p:cNvPr>
          <p:cNvSpPr>
            <a:spLocks noGrp="1"/>
          </p:cNvSpPr>
          <p:nvPr>
            <p:ph type="pic" sz="quarter" idx="17"/>
          </p:nvPr>
        </p:nvSpPr>
        <p:spPr>
          <a:xfrm>
            <a:off x="5067364" y="5081588"/>
            <a:ext cx="800100" cy="800100"/>
          </a:xfrm>
          <a:prstGeom prst="ellipse">
            <a:avLst/>
          </a:prstGeom>
          <a:solidFill>
            <a:schemeClr val="bg1"/>
          </a:solidFill>
        </p:spPr>
        <p:txBody>
          <a:bodyPr anchor="ctr"/>
          <a:lstStyle>
            <a:lvl1pPr marL="0" indent="0" algn="ctr">
              <a:buNone/>
              <a:defRPr sz="800"/>
            </a:lvl1pPr>
          </a:lstStyle>
          <a:p>
            <a:r>
              <a:rPr lang="en-US"/>
              <a:t>Click icon to add picture</a:t>
            </a:r>
          </a:p>
        </p:txBody>
      </p:sp>
      <p:grpSp>
        <p:nvGrpSpPr>
          <p:cNvPr id="4" name="Group 3">
            <a:extLst>
              <a:ext uri="{FF2B5EF4-FFF2-40B4-BE49-F238E27FC236}">
                <a16:creationId xmlns:a16="http://schemas.microsoft.com/office/drawing/2014/main" id="{2BEE55CA-AF59-6E66-F0D9-CF7C6BDA1605}"/>
              </a:ext>
            </a:extLst>
          </p:cNvPr>
          <p:cNvGrpSpPr/>
          <p:nvPr userDrawn="1"/>
        </p:nvGrpSpPr>
        <p:grpSpPr>
          <a:xfrm>
            <a:off x="782097" y="694483"/>
            <a:ext cx="1346160" cy="412987"/>
            <a:chOff x="2406776" y="-1036657"/>
            <a:chExt cx="1346160" cy="412987"/>
          </a:xfrm>
        </p:grpSpPr>
        <p:sp>
          <p:nvSpPr>
            <p:cNvPr id="12" name="Freeform 11">
              <a:extLst>
                <a:ext uri="{FF2B5EF4-FFF2-40B4-BE49-F238E27FC236}">
                  <a16:creationId xmlns:a16="http://schemas.microsoft.com/office/drawing/2014/main" id="{7FDABD91-B66D-01BA-AC79-497B79E590CC}"/>
                </a:ext>
              </a:extLst>
            </p:cNvPr>
            <p:cNvSpPr/>
            <p:nvPr/>
          </p:nvSpPr>
          <p:spPr>
            <a:xfrm>
              <a:off x="2406776" y="-1036657"/>
              <a:ext cx="1346160" cy="412672"/>
            </a:xfrm>
            <a:custGeom>
              <a:avLst/>
              <a:gdLst>
                <a:gd name="connsiteX0" fmla="*/ 113980 w 1346160"/>
                <a:gd name="connsiteY0" fmla="*/ 0 h 412672"/>
                <a:gd name="connsiteX1" fmla="*/ 81943 w 1346160"/>
                <a:gd name="connsiteY1" fmla="*/ 13537 h 412672"/>
                <a:gd name="connsiteX2" fmla="*/ 13268 w 1346160"/>
                <a:gd name="connsiteY2" fmla="*/ 83602 h 412672"/>
                <a:gd name="connsiteX3" fmla="*/ 0 w 1346160"/>
                <a:gd name="connsiteY3" fmla="*/ 116287 h 412672"/>
                <a:gd name="connsiteX4" fmla="*/ 0 w 1346160"/>
                <a:gd name="connsiteY4" fmla="*/ 412672 h 412672"/>
                <a:gd name="connsiteX5" fmla="*/ 1232900 w 1346160"/>
                <a:gd name="connsiteY5" fmla="*/ 411939 h 412672"/>
                <a:gd name="connsiteX6" fmla="*/ 1264936 w 1346160"/>
                <a:gd name="connsiteY6" fmla="*/ 398402 h 412672"/>
                <a:gd name="connsiteX7" fmla="*/ 1332848 w 1346160"/>
                <a:gd name="connsiteY7" fmla="*/ 329116 h 412672"/>
                <a:gd name="connsiteX8" fmla="*/ 1346116 w 1346160"/>
                <a:gd name="connsiteY8" fmla="*/ 296431 h 412672"/>
                <a:gd name="connsiteX9" fmla="*/ 1346161 w 1346160"/>
                <a:gd name="connsiteY9" fmla="*/ 0 h 412672"/>
                <a:gd name="connsiteX10" fmla="*/ 113980 w 1346160"/>
                <a:gd name="connsiteY10" fmla="*/ 0 h 41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160" h="412672">
                  <a:moveTo>
                    <a:pt x="113980" y="0"/>
                  </a:moveTo>
                  <a:cubicBezTo>
                    <a:pt x="101969" y="0"/>
                    <a:pt x="90430" y="4879"/>
                    <a:pt x="81943" y="13537"/>
                  </a:cubicBezTo>
                  <a:lnTo>
                    <a:pt x="13268" y="83602"/>
                  </a:lnTo>
                  <a:cubicBezTo>
                    <a:pt x="4782" y="92260"/>
                    <a:pt x="0" y="104033"/>
                    <a:pt x="0" y="116287"/>
                  </a:cubicBezTo>
                  <a:lnTo>
                    <a:pt x="0" y="412672"/>
                  </a:lnTo>
                  <a:lnTo>
                    <a:pt x="1232900" y="411939"/>
                  </a:lnTo>
                  <a:cubicBezTo>
                    <a:pt x="1244910" y="411939"/>
                    <a:pt x="1256450" y="407060"/>
                    <a:pt x="1264936" y="398402"/>
                  </a:cubicBezTo>
                  <a:lnTo>
                    <a:pt x="1332848" y="329116"/>
                  </a:lnTo>
                  <a:cubicBezTo>
                    <a:pt x="1341334" y="320458"/>
                    <a:pt x="1346116" y="308685"/>
                    <a:pt x="1346116" y="296431"/>
                  </a:cubicBezTo>
                  <a:lnTo>
                    <a:pt x="1346161" y="0"/>
                  </a:lnTo>
                  <a:lnTo>
                    <a:pt x="113980" y="0"/>
                  </a:lnTo>
                  <a:close/>
                </a:path>
              </a:pathLst>
            </a:custGeom>
            <a:solidFill>
              <a:srgbClr val="00D15F"/>
            </a:solidFill>
            <a:ln w="2231" cap="flat">
              <a:noFill/>
              <a:prstDash val="solid"/>
              <a:miter/>
            </a:ln>
          </p:spPr>
          <p:txBody>
            <a:bodyPr rtlCol="0" anchor="ctr"/>
            <a:lstStyle/>
            <a:p>
              <a:endParaRPr lang="en-RU"/>
            </a:p>
          </p:txBody>
        </p:sp>
        <p:sp>
          <p:nvSpPr>
            <p:cNvPr id="13" name="Freeform 12">
              <a:extLst>
                <a:ext uri="{FF2B5EF4-FFF2-40B4-BE49-F238E27FC236}">
                  <a16:creationId xmlns:a16="http://schemas.microsoft.com/office/drawing/2014/main" id="{EF205B16-B006-81F3-8581-D5F8E8E209DD}"/>
                </a:ext>
              </a:extLst>
            </p:cNvPr>
            <p:cNvSpPr/>
            <p:nvPr/>
          </p:nvSpPr>
          <p:spPr>
            <a:xfrm>
              <a:off x="2407135" y="-1036657"/>
              <a:ext cx="1009744" cy="412987"/>
            </a:xfrm>
            <a:custGeom>
              <a:avLst/>
              <a:gdLst>
                <a:gd name="connsiteX0" fmla="*/ 0 w 1009744"/>
                <a:gd name="connsiteY0" fmla="*/ 156393 h 412987"/>
                <a:gd name="connsiteX1" fmla="*/ 0 w 1009744"/>
                <a:gd name="connsiteY1" fmla="*/ 412695 h 412987"/>
                <a:gd name="connsiteX2" fmla="*/ 450756 w 1009744"/>
                <a:gd name="connsiteY2" fmla="*/ 412695 h 412987"/>
                <a:gd name="connsiteX3" fmla="*/ 541634 w 1009744"/>
                <a:gd name="connsiteY3" fmla="*/ 406121 h 412987"/>
                <a:gd name="connsiteX4" fmla="*/ 712570 w 1009744"/>
                <a:gd name="connsiteY4" fmla="*/ 302593 h 412987"/>
                <a:gd name="connsiteX5" fmla="*/ 1009744 w 1009744"/>
                <a:gd name="connsiteY5" fmla="*/ 0 h 412987"/>
                <a:gd name="connsiteX6" fmla="*/ 559931 w 1009744"/>
                <a:gd name="connsiteY6" fmla="*/ 46 h 412987"/>
                <a:gd name="connsiteX7" fmla="*/ 250073 w 1009744"/>
                <a:gd name="connsiteY7" fmla="*/ 314892 h 412987"/>
                <a:gd name="connsiteX8" fmla="*/ 205846 w 1009744"/>
                <a:gd name="connsiteY8" fmla="*/ 337545 h 412987"/>
                <a:gd name="connsiteX9" fmla="*/ 165997 w 1009744"/>
                <a:gd name="connsiteY9" fmla="*/ 323963 h 412987"/>
                <a:gd name="connsiteX10" fmla="*/ 0 w 1009744"/>
                <a:gd name="connsiteY10" fmla="*/ 156393 h 412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9744" h="412987">
                  <a:moveTo>
                    <a:pt x="0" y="156393"/>
                  </a:moveTo>
                  <a:lnTo>
                    <a:pt x="0" y="412695"/>
                  </a:lnTo>
                  <a:lnTo>
                    <a:pt x="450756" y="412695"/>
                  </a:lnTo>
                  <a:cubicBezTo>
                    <a:pt x="450756" y="412695"/>
                    <a:pt x="501875" y="415100"/>
                    <a:pt x="541634" y="406121"/>
                  </a:cubicBezTo>
                  <a:cubicBezTo>
                    <a:pt x="614687" y="389630"/>
                    <a:pt x="658196" y="358067"/>
                    <a:pt x="712570" y="302593"/>
                  </a:cubicBezTo>
                  <a:cubicBezTo>
                    <a:pt x="804302" y="208959"/>
                    <a:pt x="1009744" y="0"/>
                    <a:pt x="1009744" y="0"/>
                  </a:cubicBezTo>
                  <a:lnTo>
                    <a:pt x="559931" y="46"/>
                  </a:lnTo>
                  <a:lnTo>
                    <a:pt x="250073" y="314892"/>
                  </a:lnTo>
                  <a:cubicBezTo>
                    <a:pt x="250073" y="314892"/>
                    <a:pt x="231439" y="337820"/>
                    <a:pt x="205846" y="337545"/>
                  </a:cubicBezTo>
                  <a:cubicBezTo>
                    <a:pt x="178053" y="337224"/>
                    <a:pt x="165997" y="323963"/>
                    <a:pt x="165997" y="323963"/>
                  </a:cubicBezTo>
                  <a:lnTo>
                    <a:pt x="0" y="156393"/>
                  </a:lnTo>
                  <a:close/>
                </a:path>
              </a:pathLst>
            </a:custGeom>
            <a:solidFill>
              <a:srgbClr val="FFFFFF">
                <a:alpha val="25000"/>
              </a:srgbClr>
            </a:solidFill>
            <a:ln w="2231" cap="flat">
              <a:noFill/>
              <a:prstDash val="solid"/>
              <a:miter/>
            </a:ln>
          </p:spPr>
          <p:txBody>
            <a:bodyPr rtlCol="0" anchor="ctr"/>
            <a:lstStyle/>
            <a:p>
              <a:endParaRPr lang="en-RU"/>
            </a:p>
          </p:txBody>
        </p:sp>
        <p:grpSp>
          <p:nvGrpSpPr>
            <p:cNvPr id="14" name="Graphic 1">
              <a:extLst>
                <a:ext uri="{FF2B5EF4-FFF2-40B4-BE49-F238E27FC236}">
                  <a16:creationId xmlns:a16="http://schemas.microsoft.com/office/drawing/2014/main" id="{ED90A2B0-F1E6-BADD-C3BB-3865C5BAC77C}"/>
                </a:ext>
              </a:extLst>
            </p:cNvPr>
            <p:cNvGrpSpPr/>
            <p:nvPr/>
          </p:nvGrpSpPr>
          <p:grpSpPr>
            <a:xfrm>
              <a:off x="2502616" y="-933884"/>
              <a:ext cx="1130526" cy="206622"/>
              <a:chOff x="2502616" y="-933884"/>
              <a:chExt cx="1130526" cy="206622"/>
            </a:xfrm>
            <a:solidFill>
              <a:srgbClr val="FFFFFF"/>
            </a:solidFill>
          </p:grpSpPr>
          <p:sp>
            <p:nvSpPr>
              <p:cNvPr id="15" name="Freeform 14">
                <a:extLst>
                  <a:ext uri="{FF2B5EF4-FFF2-40B4-BE49-F238E27FC236}">
                    <a16:creationId xmlns:a16="http://schemas.microsoft.com/office/drawing/2014/main" id="{F889CE56-DD16-C13F-93D8-643D13859136}"/>
                  </a:ext>
                </a:extLst>
              </p:cNvPr>
              <p:cNvSpPr/>
              <p:nvPr/>
            </p:nvSpPr>
            <p:spPr>
              <a:xfrm>
                <a:off x="2502616" y="-929578"/>
                <a:ext cx="221224" cy="198147"/>
              </a:xfrm>
              <a:custGeom>
                <a:avLst/>
                <a:gdLst>
                  <a:gd name="connsiteX0" fmla="*/ 93011 w 221224"/>
                  <a:gd name="connsiteY0" fmla="*/ 198148 h 198147"/>
                  <a:gd name="connsiteX1" fmla="*/ 0 w 221224"/>
                  <a:gd name="connsiteY1" fmla="*/ 0 h 198147"/>
                  <a:gd name="connsiteX2" fmla="*/ 41915 w 221224"/>
                  <a:gd name="connsiteY2" fmla="*/ 0 h 198147"/>
                  <a:gd name="connsiteX3" fmla="*/ 110006 w 221224"/>
                  <a:gd name="connsiteY3" fmla="*/ 149017 h 198147"/>
                  <a:gd name="connsiteX4" fmla="*/ 110814 w 221224"/>
                  <a:gd name="connsiteY4" fmla="*/ 149017 h 198147"/>
                  <a:gd name="connsiteX5" fmla="*/ 178906 w 221224"/>
                  <a:gd name="connsiteY5" fmla="*/ 0 h 198147"/>
                  <a:gd name="connsiteX6" fmla="*/ 221225 w 221224"/>
                  <a:gd name="connsiteY6" fmla="*/ 0 h 198147"/>
                  <a:gd name="connsiteX7" fmla="*/ 128213 w 221224"/>
                  <a:gd name="connsiteY7" fmla="*/ 198148 h 198147"/>
                  <a:gd name="connsiteX8" fmla="*/ 92966 w 221224"/>
                  <a:gd name="connsiteY8" fmla="*/ 198148 h 19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224" h="198147">
                    <a:moveTo>
                      <a:pt x="93011" y="198148"/>
                    </a:moveTo>
                    <a:lnTo>
                      <a:pt x="0" y="0"/>
                    </a:lnTo>
                    <a:lnTo>
                      <a:pt x="41915" y="0"/>
                    </a:lnTo>
                    <a:cubicBezTo>
                      <a:pt x="41915" y="0"/>
                      <a:pt x="108390" y="141848"/>
                      <a:pt x="110006" y="149017"/>
                    </a:cubicBezTo>
                    <a:lnTo>
                      <a:pt x="110814" y="149017"/>
                    </a:lnTo>
                    <a:cubicBezTo>
                      <a:pt x="112476" y="141825"/>
                      <a:pt x="178906" y="0"/>
                      <a:pt x="178906" y="0"/>
                    </a:cubicBezTo>
                    <a:lnTo>
                      <a:pt x="221225" y="0"/>
                    </a:lnTo>
                    <a:lnTo>
                      <a:pt x="128213" y="198148"/>
                    </a:lnTo>
                    <a:lnTo>
                      <a:pt x="92966" y="198148"/>
                    </a:lnTo>
                    <a:close/>
                  </a:path>
                </a:pathLst>
              </a:custGeom>
              <a:solidFill>
                <a:srgbClr val="FFFFFF"/>
              </a:solidFill>
              <a:ln w="2231" cap="flat">
                <a:noFill/>
                <a:prstDash val="solid"/>
                <a:miter/>
              </a:ln>
            </p:spPr>
            <p:txBody>
              <a:bodyPr rtlCol="0" anchor="ctr"/>
              <a:lstStyle/>
              <a:p>
                <a:endParaRPr lang="en-RU"/>
              </a:p>
            </p:txBody>
          </p:sp>
          <p:sp>
            <p:nvSpPr>
              <p:cNvPr id="16" name="Freeform 15">
                <a:extLst>
                  <a:ext uri="{FF2B5EF4-FFF2-40B4-BE49-F238E27FC236}">
                    <a16:creationId xmlns:a16="http://schemas.microsoft.com/office/drawing/2014/main" id="{426BADAA-5F44-5950-8D75-9475A9AC849E}"/>
                  </a:ext>
                </a:extLst>
              </p:cNvPr>
              <p:cNvSpPr/>
              <p:nvPr/>
            </p:nvSpPr>
            <p:spPr>
              <a:xfrm>
                <a:off x="2713962" y="-933884"/>
                <a:ext cx="190894" cy="206599"/>
              </a:xfrm>
              <a:custGeom>
                <a:avLst/>
                <a:gdLst>
                  <a:gd name="connsiteX0" fmla="*/ 190041 w 190894"/>
                  <a:gd name="connsiteY0" fmla="*/ 118577 h 206599"/>
                  <a:gd name="connsiteX1" fmla="*/ 39423 w 190894"/>
                  <a:gd name="connsiteY1" fmla="*/ 118577 h 206599"/>
                  <a:gd name="connsiteX2" fmla="*/ 97950 w 190894"/>
                  <a:gd name="connsiteY2" fmla="*/ 171051 h 206599"/>
                  <a:gd name="connsiteX3" fmla="*/ 146914 w 190894"/>
                  <a:gd name="connsiteY3" fmla="*/ 143108 h 206599"/>
                  <a:gd name="connsiteX4" fmla="*/ 185910 w 190894"/>
                  <a:gd name="connsiteY4" fmla="*/ 143108 h 206599"/>
                  <a:gd name="connsiteX5" fmla="*/ 97928 w 190894"/>
                  <a:gd name="connsiteY5" fmla="*/ 206599 h 206599"/>
                  <a:gd name="connsiteX6" fmla="*/ 0 w 190894"/>
                  <a:gd name="connsiteY6" fmla="*/ 103300 h 206599"/>
                  <a:gd name="connsiteX7" fmla="*/ 97928 w 190894"/>
                  <a:gd name="connsiteY7" fmla="*/ 0 h 206599"/>
                  <a:gd name="connsiteX8" fmla="*/ 190894 w 190894"/>
                  <a:gd name="connsiteY8" fmla="*/ 103300 h 206599"/>
                  <a:gd name="connsiteX9" fmla="*/ 190086 w 190894"/>
                  <a:gd name="connsiteY9" fmla="*/ 118577 h 206599"/>
                  <a:gd name="connsiteX10" fmla="*/ 39827 w 190894"/>
                  <a:gd name="connsiteY10" fmla="*/ 86396 h 206599"/>
                  <a:gd name="connsiteX11" fmla="*/ 151472 w 190894"/>
                  <a:gd name="connsiteY11" fmla="*/ 86396 h 206599"/>
                  <a:gd name="connsiteX12" fmla="*/ 97950 w 190894"/>
                  <a:gd name="connsiteY12" fmla="*/ 35617 h 206599"/>
                  <a:gd name="connsiteX13" fmla="*/ 39827 w 190894"/>
                  <a:gd name="connsiteY13" fmla="*/ 86396 h 20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0894" h="206599">
                    <a:moveTo>
                      <a:pt x="190041" y="118577"/>
                    </a:moveTo>
                    <a:lnTo>
                      <a:pt x="39423" y="118577"/>
                    </a:lnTo>
                    <a:cubicBezTo>
                      <a:pt x="44833" y="150758"/>
                      <a:pt x="68024" y="171051"/>
                      <a:pt x="97950" y="171051"/>
                    </a:cubicBezTo>
                    <a:cubicBezTo>
                      <a:pt x="122444" y="171051"/>
                      <a:pt x="138608" y="161294"/>
                      <a:pt x="146914" y="143108"/>
                    </a:cubicBezTo>
                    <a:lnTo>
                      <a:pt x="185910" y="143108"/>
                    </a:lnTo>
                    <a:cubicBezTo>
                      <a:pt x="174259" y="180763"/>
                      <a:pt x="140696" y="206599"/>
                      <a:pt x="97928" y="206599"/>
                    </a:cubicBezTo>
                    <a:cubicBezTo>
                      <a:pt x="41488" y="206599"/>
                      <a:pt x="0" y="164707"/>
                      <a:pt x="0" y="103300"/>
                    </a:cubicBezTo>
                    <a:cubicBezTo>
                      <a:pt x="0" y="41892"/>
                      <a:pt x="40657" y="0"/>
                      <a:pt x="97928" y="0"/>
                    </a:cubicBezTo>
                    <a:cubicBezTo>
                      <a:pt x="148957" y="0"/>
                      <a:pt x="190894" y="44481"/>
                      <a:pt x="190894" y="103300"/>
                    </a:cubicBezTo>
                    <a:cubicBezTo>
                      <a:pt x="190894" y="109232"/>
                      <a:pt x="190894" y="112645"/>
                      <a:pt x="190086" y="118577"/>
                    </a:cubicBezTo>
                    <a:close/>
                    <a:moveTo>
                      <a:pt x="39827" y="86396"/>
                    </a:moveTo>
                    <a:lnTo>
                      <a:pt x="151472" y="86396"/>
                    </a:lnTo>
                    <a:cubicBezTo>
                      <a:pt x="148980" y="59277"/>
                      <a:pt x="127428" y="35617"/>
                      <a:pt x="97950" y="35617"/>
                    </a:cubicBezTo>
                    <a:cubicBezTo>
                      <a:pt x="68024" y="35571"/>
                      <a:pt x="45596" y="55498"/>
                      <a:pt x="39827" y="86396"/>
                    </a:cubicBezTo>
                    <a:close/>
                  </a:path>
                </a:pathLst>
              </a:custGeom>
              <a:solidFill>
                <a:srgbClr val="FFFFFF"/>
              </a:solidFill>
              <a:ln w="2231" cap="flat">
                <a:noFill/>
                <a:prstDash val="solid"/>
                <a:miter/>
              </a:ln>
            </p:spPr>
            <p:txBody>
              <a:bodyPr rtlCol="0" anchor="ctr"/>
              <a:lstStyle/>
              <a:p>
                <a:endParaRPr lang="en-RU"/>
              </a:p>
            </p:txBody>
          </p:sp>
          <p:sp>
            <p:nvSpPr>
              <p:cNvPr id="17" name="Freeform 16">
                <a:extLst>
                  <a:ext uri="{FF2B5EF4-FFF2-40B4-BE49-F238E27FC236}">
                    <a16:creationId xmlns:a16="http://schemas.microsoft.com/office/drawing/2014/main" id="{919F8AD2-48A8-35A5-A3D4-A95BED068140}"/>
                  </a:ext>
                </a:extLst>
              </p:cNvPr>
              <p:cNvSpPr/>
              <p:nvPr/>
            </p:nvSpPr>
            <p:spPr>
              <a:xfrm>
                <a:off x="2920572" y="-933884"/>
                <a:ext cx="190894" cy="206599"/>
              </a:xfrm>
              <a:custGeom>
                <a:avLst/>
                <a:gdLst>
                  <a:gd name="connsiteX0" fmla="*/ 190041 w 190894"/>
                  <a:gd name="connsiteY0" fmla="*/ 118577 h 206599"/>
                  <a:gd name="connsiteX1" fmla="*/ 39423 w 190894"/>
                  <a:gd name="connsiteY1" fmla="*/ 118577 h 206599"/>
                  <a:gd name="connsiteX2" fmla="*/ 97950 w 190894"/>
                  <a:gd name="connsiteY2" fmla="*/ 171051 h 206599"/>
                  <a:gd name="connsiteX3" fmla="*/ 146914 w 190894"/>
                  <a:gd name="connsiteY3" fmla="*/ 143108 h 206599"/>
                  <a:gd name="connsiteX4" fmla="*/ 185910 w 190894"/>
                  <a:gd name="connsiteY4" fmla="*/ 143108 h 206599"/>
                  <a:gd name="connsiteX5" fmla="*/ 97928 w 190894"/>
                  <a:gd name="connsiteY5" fmla="*/ 206599 h 206599"/>
                  <a:gd name="connsiteX6" fmla="*/ 0 w 190894"/>
                  <a:gd name="connsiteY6" fmla="*/ 103300 h 206599"/>
                  <a:gd name="connsiteX7" fmla="*/ 97928 w 190894"/>
                  <a:gd name="connsiteY7" fmla="*/ 0 h 206599"/>
                  <a:gd name="connsiteX8" fmla="*/ 190894 w 190894"/>
                  <a:gd name="connsiteY8" fmla="*/ 103300 h 206599"/>
                  <a:gd name="connsiteX9" fmla="*/ 190086 w 190894"/>
                  <a:gd name="connsiteY9" fmla="*/ 118577 h 206599"/>
                  <a:gd name="connsiteX10" fmla="*/ 39827 w 190894"/>
                  <a:gd name="connsiteY10" fmla="*/ 86396 h 206599"/>
                  <a:gd name="connsiteX11" fmla="*/ 151472 w 190894"/>
                  <a:gd name="connsiteY11" fmla="*/ 86396 h 206599"/>
                  <a:gd name="connsiteX12" fmla="*/ 97950 w 190894"/>
                  <a:gd name="connsiteY12" fmla="*/ 35617 h 206599"/>
                  <a:gd name="connsiteX13" fmla="*/ 39827 w 190894"/>
                  <a:gd name="connsiteY13" fmla="*/ 86396 h 20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0894" h="206599">
                    <a:moveTo>
                      <a:pt x="190041" y="118577"/>
                    </a:moveTo>
                    <a:lnTo>
                      <a:pt x="39423" y="118577"/>
                    </a:lnTo>
                    <a:cubicBezTo>
                      <a:pt x="44833" y="150758"/>
                      <a:pt x="68024" y="171051"/>
                      <a:pt x="97950" y="171051"/>
                    </a:cubicBezTo>
                    <a:cubicBezTo>
                      <a:pt x="122444" y="171051"/>
                      <a:pt x="138608" y="161294"/>
                      <a:pt x="146914" y="143108"/>
                    </a:cubicBezTo>
                    <a:lnTo>
                      <a:pt x="185910" y="143108"/>
                    </a:lnTo>
                    <a:cubicBezTo>
                      <a:pt x="174259" y="180763"/>
                      <a:pt x="140696" y="206599"/>
                      <a:pt x="97928" y="206599"/>
                    </a:cubicBezTo>
                    <a:cubicBezTo>
                      <a:pt x="41488" y="206599"/>
                      <a:pt x="0" y="164707"/>
                      <a:pt x="0" y="103300"/>
                    </a:cubicBezTo>
                    <a:cubicBezTo>
                      <a:pt x="0" y="41892"/>
                      <a:pt x="40657" y="0"/>
                      <a:pt x="97928" y="0"/>
                    </a:cubicBezTo>
                    <a:cubicBezTo>
                      <a:pt x="148957" y="0"/>
                      <a:pt x="190894" y="44481"/>
                      <a:pt x="190894" y="103300"/>
                    </a:cubicBezTo>
                    <a:cubicBezTo>
                      <a:pt x="190894" y="109232"/>
                      <a:pt x="190894" y="112645"/>
                      <a:pt x="190086" y="118577"/>
                    </a:cubicBezTo>
                    <a:close/>
                    <a:moveTo>
                      <a:pt x="39827" y="86396"/>
                    </a:moveTo>
                    <a:lnTo>
                      <a:pt x="151472" y="86396"/>
                    </a:lnTo>
                    <a:cubicBezTo>
                      <a:pt x="148980" y="59277"/>
                      <a:pt x="127428" y="35617"/>
                      <a:pt x="97950" y="35617"/>
                    </a:cubicBezTo>
                    <a:cubicBezTo>
                      <a:pt x="68024" y="35571"/>
                      <a:pt x="45641" y="55498"/>
                      <a:pt x="39827" y="86396"/>
                    </a:cubicBezTo>
                    <a:close/>
                  </a:path>
                </a:pathLst>
              </a:custGeom>
              <a:solidFill>
                <a:srgbClr val="FFFFFF"/>
              </a:solidFill>
              <a:ln w="2231" cap="flat">
                <a:noFill/>
                <a:prstDash val="solid"/>
                <a:miter/>
              </a:ln>
            </p:spPr>
            <p:txBody>
              <a:bodyPr rtlCol="0" anchor="ctr"/>
              <a:lstStyle/>
              <a:p>
                <a:endParaRPr lang="en-RU"/>
              </a:p>
            </p:txBody>
          </p:sp>
          <p:sp>
            <p:nvSpPr>
              <p:cNvPr id="18" name="Freeform 17">
                <a:extLst>
                  <a:ext uri="{FF2B5EF4-FFF2-40B4-BE49-F238E27FC236}">
                    <a16:creationId xmlns:a16="http://schemas.microsoft.com/office/drawing/2014/main" id="{77C841EC-2A26-7AA4-D08A-4EBEA9B64ED6}"/>
                  </a:ext>
                </a:extLst>
              </p:cNvPr>
              <p:cNvSpPr/>
              <p:nvPr/>
            </p:nvSpPr>
            <p:spPr>
              <a:xfrm>
                <a:off x="3126777" y="-933861"/>
                <a:ext cx="195070" cy="206599"/>
              </a:xfrm>
              <a:custGeom>
                <a:avLst/>
                <a:gdLst>
                  <a:gd name="connsiteX0" fmla="*/ 195070 w 195070"/>
                  <a:gd name="connsiteY0" fmla="*/ 103300 h 206599"/>
                  <a:gd name="connsiteX1" fmla="*/ 195070 w 195070"/>
                  <a:gd name="connsiteY1" fmla="*/ 202362 h 206599"/>
                  <a:gd name="connsiteX2" fmla="*/ 161462 w 195070"/>
                  <a:gd name="connsiteY2" fmla="*/ 202362 h 206599"/>
                  <a:gd name="connsiteX3" fmla="*/ 158117 w 195070"/>
                  <a:gd name="connsiteY3" fmla="*/ 171464 h 206599"/>
                  <a:gd name="connsiteX4" fmla="*/ 93371 w 195070"/>
                  <a:gd name="connsiteY4" fmla="*/ 206599 h 206599"/>
                  <a:gd name="connsiteX5" fmla="*/ 0 w 195070"/>
                  <a:gd name="connsiteY5" fmla="*/ 103300 h 206599"/>
                  <a:gd name="connsiteX6" fmla="*/ 98332 w 195070"/>
                  <a:gd name="connsiteY6" fmla="*/ 0 h 206599"/>
                  <a:gd name="connsiteX7" fmla="*/ 195070 w 195070"/>
                  <a:gd name="connsiteY7" fmla="*/ 103300 h 206599"/>
                  <a:gd name="connsiteX8" fmla="*/ 156860 w 195070"/>
                  <a:gd name="connsiteY8" fmla="*/ 103300 h 206599"/>
                  <a:gd name="connsiteX9" fmla="*/ 98332 w 195070"/>
                  <a:gd name="connsiteY9" fmla="*/ 35571 h 206599"/>
                  <a:gd name="connsiteX10" fmla="*/ 38188 w 195070"/>
                  <a:gd name="connsiteY10" fmla="*/ 103300 h 206599"/>
                  <a:gd name="connsiteX11" fmla="*/ 98332 w 195070"/>
                  <a:gd name="connsiteY11" fmla="*/ 171029 h 206599"/>
                  <a:gd name="connsiteX12" fmla="*/ 156860 w 195070"/>
                  <a:gd name="connsiteY12" fmla="*/ 103300 h 20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5070" h="206599">
                    <a:moveTo>
                      <a:pt x="195070" y="103300"/>
                    </a:moveTo>
                    <a:lnTo>
                      <a:pt x="195070" y="202362"/>
                    </a:lnTo>
                    <a:lnTo>
                      <a:pt x="161462" y="202362"/>
                    </a:lnTo>
                    <a:lnTo>
                      <a:pt x="158117" y="171464"/>
                    </a:lnTo>
                    <a:cubicBezTo>
                      <a:pt x="143188" y="194345"/>
                      <a:pt x="117056" y="206599"/>
                      <a:pt x="93371" y="206599"/>
                    </a:cubicBezTo>
                    <a:cubicBezTo>
                      <a:pt x="40253" y="206599"/>
                      <a:pt x="0" y="163424"/>
                      <a:pt x="0" y="103300"/>
                    </a:cubicBezTo>
                    <a:cubicBezTo>
                      <a:pt x="0" y="43175"/>
                      <a:pt x="43149" y="0"/>
                      <a:pt x="98332" y="0"/>
                    </a:cubicBezTo>
                    <a:cubicBezTo>
                      <a:pt x="149002" y="0"/>
                      <a:pt x="195070" y="37243"/>
                      <a:pt x="195070" y="103300"/>
                    </a:cubicBezTo>
                    <a:close/>
                    <a:moveTo>
                      <a:pt x="156860" y="103300"/>
                    </a:moveTo>
                    <a:cubicBezTo>
                      <a:pt x="156860" y="59712"/>
                      <a:pt x="128662" y="35571"/>
                      <a:pt x="98332" y="35571"/>
                    </a:cubicBezTo>
                    <a:cubicBezTo>
                      <a:pt x="65128" y="35571"/>
                      <a:pt x="38188" y="62690"/>
                      <a:pt x="38188" y="103300"/>
                    </a:cubicBezTo>
                    <a:cubicBezTo>
                      <a:pt x="38188" y="143910"/>
                      <a:pt x="63108" y="171029"/>
                      <a:pt x="98332" y="171029"/>
                    </a:cubicBezTo>
                    <a:cubicBezTo>
                      <a:pt x="128258" y="171029"/>
                      <a:pt x="156860" y="145604"/>
                      <a:pt x="156860" y="103300"/>
                    </a:cubicBezTo>
                    <a:close/>
                  </a:path>
                </a:pathLst>
              </a:custGeom>
              <a:solidFill>
                <a:srgbClr val="FFFFFF"/>
              </a:solidFill>
              <a:ln w="2231" cap="flat">
                <a:noFill/>
                <a:prstDash val="solid"/>
                <a:miter/>
              </a:ln>
            </p:spPr>
            <p:txBody>
              <a:bodyPr rtlCol="0" anchor="ctr"/>
              <a:lstStyle/>
              <a:p>
                <a:endParaRPr lang="en-RU"/>
              </a:p>
            </p:txBody>
          </p:sp>
          <p:sp>
            <p:nvSpPr>
              <p:cNvPr id="20" name="Freeform 19">
                <a:extLst>
                  <a:ext uri="{FF2B5EF4-FFF2-40B4-BE49-F238E27FC236}">
                    <a16:creationId xmlns:a16="http://schemas.microsoft.com/office/drawing/2014/main" id="{133028CB-4008-420B-75A0-D19927415E4F}"/>
                  </a:ext>
                </a:extLst>
              </p:cNvPr>
              <p:cNvSpPr/>
              <p:nvPr/>
            </p:nvSpPr>
            <p:spPr>
              <a:xfrm>
                <a:off x="3347575" y="-933792"/>
                <a:ext cx="285566" cy="202728"/>
              </a:xfrm>
              <a:custGeom>
                <a:avLst/>
                <a:gdLst>
                  <a:gd name="connsiteX0" fmla="*/ 0 w 285566"/>
                  <a:gd name="connsiteY0" fmla="*/ 202316 h 202728"/>
                  <a:gd name="connsiteX1" fmla="*/ 0 w 285566"/>
                  <a:gd name="connsiteY1" fmla="*/ 85068 h 202728"/>
                  <a:gd name="connsiteX2" fmla="*/ 79698 w 285566"/>
                  <a:gd name="connsiteY2" fmla="*/ 0 h 202728"/>
                  <a:gd name="connsiteX3" fmla="*/ 142379 w 285566"/>
                  <a:gd name="connsiteY3" fmla="*/ 36006 h 202728"/>
                  <a:gd name="connsiteX4" fmla="*/ 143188 w 285566"/>
                  <a:gd name="connsiteY4" fmla="*/ 36006 h 202728"/>
                  <a:gd name="connsiteX5" fmla="*/ 205869 w 285566"/>
                  <a:gd name="connsiteY5" fmla="*/ 0 h 202728"/>
                  <a:gd name="connsiteX6" fmla="*/ 285567 w 285566"/>
                  <a:gd name="connsiteY6" fmla="*/ 85068 h 202728"/>
                  <a:gd name="connsiteX7" fmla="*/ 285567 w 285566"/>
                  <a:gd name="connsiteY7" fmla="*/ 202316 h 202728"/>
                  <a:gd name="connsiteX8" fmla="*/ 247402 w 285566"/>
                  <a:gd name="connsiteY8" fmla="*/ 202316 h 202728"/>
                  <a:gd name="connsiteX9" fmla="*/ 247402 w 285566"/>
                  <a:gd name="connsiteY9" fmla="*/ 87999 h 202728"/>
                  <a:gd name="connsiteX10" fmla="*/ 204679 w 285566"/>
                  <a:gd name="connsiteY10" fmla="*/ 36350 h 202728"/>
                  <a:gd name="connsiteX11" fmla="*/ 161956 w 285566"/>
                  <a:gd name="connsiteY11" fmla="*/ 88824 h 202728"/>
                  <a:gd name="connsiteX12" fmla="*/ 161956 w 285566"/>
                  <a:gd name="connsiteY12" fmla="*/ 202729 h 202728"/>
                  <a:gd name="connsiteX13" fmla="*/ 123791 w 285566"/>
                  <a:gd name="connsiteY13" fmla="*/ 202729 h 202728"/>
                  <a:gd name="connsiteX14" fmla="*/ 123791 w 285566"/>
                  <a:gd name="connsiteY14" fmla="*/ 88824 h 202728"/>
                  <a:gd name="connsiteX15" fmla="*/ 81068 w 285566"/>
                  <a:gd name="connsiteY15" fmla="*/ 36350 h 202728"/>
                  <a:gd name="connsiteX16" fmla="*/ 38345 w 285566"/>
                  <a:gd name="connsiteY16" fmla="*/ 87999 h 202728"/>
                  <a:gd name="connsiteX17" fmla="*/ 38345 w 285566"/>
                  <a:gd name="connsiteY17" fmla="*/ 202316 h 202728"/>
                  <a:gd name="connsiteX18" fmla="*/ 90 w 285566"/>
                  <a:gd name="connsiteY18" fmla="*/ 202316 h 20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5566" h="202728">
                    <a:moveTo>
                      <a:pt x="0" y="202316"/>
                    </a:moveTo>
                    <a:lnTo>
                      <a:pt x="0" y="85068"/>
                    </a:lnTo>
                    <a:cubicBezTo>
                      <a:pt x="0" y="35525"/>
                      <a:pt x="31138" y="0"/>
                      <a:pt x="79698" y="0"/>
                    </a:cubicBezTo>
                    <a:cubicBezTo>
                      <a:pt x="118694" y="0"/>
                      <a:pt x="139438" y="26661"/>
                      <a:pt x="142379" y="36006"/>
                    </a:cubicBezTo>
                    <a:lnTo>
                      <a:pt x="143188" y="36006"/>
                    </a:lnTo>
                    <a:cubicBezTo>
                      <a:pt x="146084" y="26707"/>
                      <a:pt x="166828" y="0"/>
                      <a:pt x="205869" y="0"/>
                    </a:cubicBezTo>
                    <a:cubicBezTo>
                      <a:pt x="254428" y="0"/>
                      <a:pt x="285567" y="35548"/>
                      <a:pt x="285567" y="85068"/>
                    </a:cubicBezTo>
                    <a:lnTo>
                      <a:pt x="285567" y="202316"/>
                    </a:lnTo>
                    <a:lnTo>
                      <a:pt x="247402" y="202316"/>
                    </a:lnTo>
                    <a:lnTo>
                      <a:pt x="247402" y="87999"/>
                    </a:lnTo>
                    <a:cubicBezTo>
                      <a:pt x="247402" y="55818"/>
                      <a:pt x="233280" y="36350"/>
                      <a:pt x="204679" y="36350"/>
                    </a:cubicBezTo>
                    <a:cubicBezTo>
                      <a:pt x="176077" y="36350"/>
                      <a:pt x="161956" y="55818"/>
                      <a:pt x="161956" y="88824"/>
                    </a:cubicBezTo>
                    <a:lnTo>
                      <a:pt x="161956" y="202729"/>
                    </a:lnTo>
                    <a:lnTo>
                      <a:pt x="123791" y="202729"/>
                    </a:lnTo>
                    <a:lnTo>
                      <a:pt x="123791" y="88824"/>
                    </a:lnTo>
                    <a:cubicBezTo>
                      <a:pt x="123791" y="55818"/>
                      <a:pt x="109669" y="36350"/>
                      <a:pt x="81068" y="36350"/>
                    </a:cubicBezTo>
                    <a:cubicBezTo>
                      <a:pt x="52466" y="36350"/>
                      <a:pt x="38345" y="55818"/>
                      <a:pt x="38345" y="87999"/>
                    </a:cubicBezTo>
                    <a:lnTo>
                      <a:pt x="38345" y="202316"/>
                    </a:lnTo>
                    <a:lnTo>
                      <a:pt x="90" y="202316"/>
                    </a:lnTo>
                    <a:close/>
                  </a:path>
                </a:pathLst>
              </a:custGeom>
              <a:solidFill>
                <a:srgbClr val="FFFFFF"/>
              </a:solidFill>
              <a:ln w="2231" cap="flat">
                <a:noFill/>
                <a:prstDash val="solid"/>
                <a:miter/>
              </a:ln>
            </p:spPr>
            <p:txBody>
              <a:bodyPr rtlCol="0" anchor="ctr"/>
              <a:lstStyle/>
              <a:p>
                <a:endParaRPr lang="en-RU"/>
              </a:p>
            </p:txBody>
          </p:sp>
        </p:grpSp>
      </p:grpSp>
    </p:spTree>
    <p:extLst>
      <p:ext uri="{BB962C8B-B14F-4D97-AF65-F5344CB8AC3E}">
        <p14:creationId xmlns:p14="http://schemas.microsoft.com/office/powerpoint/2010/main" val="52564287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1/3 Left Stacke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92301F5-B69E-0D3C-D5CC-BB2804BD19A5}"/>
              </a:ext>
            </a:extLst>
          </p:cNvPr>
          <p:cNvSpPr/>
          <p:nvPr/>
        </p:nvSpPr>
        <p:spPr>
          <a:xfrm>
            <a:off x="0" y="0"/>
            <a:ext cx="367937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4" name="Footer Placeholder 66">
            <a:extLst>
              <a:ext uri="{FF2B5EF4-FFF2-40B4-BE49-F238E27FC236}">
                <a16:creationId xmlns:a16="http://schemas.microsoft.com/office/drawing/2014/main" id="{5A937196-A9E2-700D-0EF2-E8B6E1F366B1}"/>
              </a:ext>
            </a:extLst>
          </p:cNvPr>
          <p:cNvSpPr>
            <a:spLocks noGrp="1"/>
          </p:cNvSpPr>
          <p:nvPr>
            <p:ph type="ftr" sz="quarter" idx="3"/>
          </p:nvPr>
        </p:nvSpPr>
        <p:spPr>
          <a:xfrm>
            <a:off x="4305300" y="6405456"/>
            <a:ext cx="6438900"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8" name="Title 1">
            <a:extLst>
              <a:ext uri="{FF2B5EF4-FFF2-40B4-BE49-F238E27FC236}">
                <a16:creationId xmlns:a16="http://schemas.microsoft.com/office/drawing/2014/main" id="{BBFBCBD4-DA05-4F0F-6763-A747F0C03298}"/>
              </a:ext>
            </a:extLst>
          </p:cNvPr>
          <p:cNvSpPr>
            <a:spLocks noGrp="1"/>
          </p:cNvSpPr>
          <p:nvPr>
            <p:ph type="title"/>
          </p:nvPr>
        </p:nvSpPr>
        <p:spPr>
          <a:xfrm>
            <a:off x="495301" y="1719263"/>
            <a:ext cx="2859087" cy="2134979"/>
          </a:xfrm>
        </p:spPr>
        <p:txBody>
          <a:bodyPr anchor="ctr">
            <a:noAutofit/>
          </a:bodyPr>
          <a:lstStyle>
            <a:lvl1pPr>
              <a:defRPr sz="4400">
                <a:solidFill>
                  <a:schemeClr val="bg1"/>
                </a:solidFill>
              </a:defRPr>
            </a:lvl1pPr>
          </a:lstStyle>
          <a:p>
            <a:r>
              <a:rPr lang="en-US"/>
              <a:t>Click to edit Master title style</a:t>
            </a:r>
          </a:p>
        </p:txBody>
      </p:sp>
      <p:sp>
        <p:nvSpPr>
          <p:cNvPr id="9" name="Subtitle 2">
            <a:extLst>
              <a:ext uri="{FF2B5EF4-FFF2-40B4-BE49-F238E27FC236}">
                <a16:creationId xmlns:a16="http://schemas.microsoft.com/office/drawing/2014/main" id="{D57F8780-D8D3-B2FE-FCC9-87A2007A9395}"/>
              </a:ext>
            </a:extLst>
          </p:cNvPr>
          <p:cNvSpPr>
            <a:spLocks noGrp="1"/>
          </p:cNvSpPr>
          <p:nvPr>
            <p:ph type="subTitle" idx="1"/>
          </p:nvPr>
        </p:nvSpPr>
        <p:spPr>
          <a:xfrm>
            <a:off x="495302" y="3997587"/>
            <a:ext cx="2859086" cy="628841"/>
          </a:xfrm>
        </p:spPr>
        <p:txBody>
          <a:bodyPr/>
          <a:lstStyle>
            <a:lvl1pPr marL="0" indent="0" algn="l">
              <a:buNone/>
              <a:defRPr sz="2100">
                <a:solidFill>
                  <a:schemeClr val="accent2"/>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Content Placeholder 18">
            <a:extLst>
              <a:ext uri="{FF2B5EF4-FFF2-40B4-BE49-F238E27FC236}">
                <a16:creationId xmlns:a16="http://schemas.microsoft.com/office/drawing/2014/main" id="{9F0DE43A-B43F-04DF-5809-BD4DF20EF55C}"/>
              </a:ext>
            </a:extLst>
          </p:cNvPr>
          <p:cNvSpPr>
            <a:spLocks noGrp="1"/>
          </p:cNvSpPr>
          <p:nvPr>
            <p:ph sz="quarter" idx="10"/>
          </p:nvPr>
        </p:nvSpPr>
        <p:spPr>
          <a:xfrm>
            <a:off x="4305300" y="682626"/>
            <a:ext cx="7391400" cy="3771900"/>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8">
            <a:extLst>
              <a:ext uri="{FF2B5EF4-FFF2-40B4-BE49-F238E27FC236}">
                <a16:creationId xmlns:a16="http://schemas.microsoft.com/office/drawing/2014/main" id="{EF926072-FA82-9BDD-9A63-4F6798DC9F61}"/>
              </a:ext>
            </a:extLst>
          </p:cNvPr>
          <p:cNvSpPr>
            <a:spLocks noGrp="1"/>
          </p:cNvSpPr>
          <p:nvPr>
            <p:ph sz="quarter" idx="11"/>
          </p:nvPr>
        </p:nvSpPr>
        <p:spPr>
          <a:xfrm>
            <a:off x="4315631" y="4797425"/>
            <a:ext cx="7391400" cy="1377949"/>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Graphic 11">
            <a:extLst>
              <a:ext uri="{FF2B5EF4-FFF2-40B4-BE49-F238E27FC236}">
                <a16:creationId xmlns:a16="http://schemas.microsoft.com/office/drawing/2014/main" id="{88A2565B-B998-5BF9-DC86-72456ED8ED8E}"/>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
        <p:nvSpPr>
          <p:cNvPr id="2" name="TextBox 1">
            <a:extLst>
              <a:ext uri="{FF2B5EF4-FFF2-40B4-BE49-F238E27FC236}">
                <a16:creationId xmlns:a16="http://schemas.microsoft.com/office/drawing/2014/main" id="{E9AF60B4-CC56-BD9A-1302-702EEC8C61AB}"/>
              </a:ext>
            </a:extLst>
          </p:cNvPr>
          <p:cNvSpPr txBox="1"/>
          <p:nvPr userDrawn="1"/>
        </p:nvSpPr>
        <p:spPr>
          <a:xfrm>
            <a:off x="4301339" y="6562481"/>
            <a:ext cx="5029200" cy="107722"/>
          </a:xfrm>
          <a:prstGeom prst="rect">
            <a:avLst/>
          </a:prstGeom>
          <a:noFill/>
        </p:spPr>
        <p:txBody>
          <a:bodyPr wrap="square" lIns="0" tIns="0" rIns="0" bIns="0">
            <a:spAutoFit/>
          </a:bodyPr>
          <a:lstStyle/>
          <a:p>
            <a:r>
              <a:rPr lang="en-US" sz="700">
                <a:solidFill>
                  <a:schemeClr val="tx2"/>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29618522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1/3 Left Column Content">
    <p:spTree>
      <p:nvGrpSpPr>
        <p:cNvPr id="1" name=""/>
        <p:cNvGrpSpPr/>
        <p:nvPr/>
      </p:nvGrpSpPr>
      <p:grpSpPr>
        <a:xfrm>
          <a:off x="0" y="0"/>
          <a:ext cx="0" cy="0"/>
          <a:chOff x="0" y="0"/>
          <a:chExt cx="0" cy="0"/>
        </a:xfrm>
      </p:grpSpPr>
      <p:sp>
        <p:nvSpPr>
          <p:cNvPr id="13" name="Content Placeholder 18">
            <a:extLst>
              <a:ext uri="{FF2B5EF4-FFF2-40B4-BE49-F238E27FC236}">
                <a16:creationId xmlns:a16="http://schemas.microsoft.com/office/drawing/2014/main" id="{56B29AAB-9836-4222-2373-744FDA40340B}"/>
              </a:ext>
            </a:extLst>
          </p:cNvPr>
          <p:cNvSpPr>
            <a:spLocks noGrp="1"/>
          </p:cNvSpPr>
          <p:nvPr>
            <p:ph sz="quarter" idx="10"/>
          </p:nvPr>
        </p:nvSpPr>
        <p:spPr>
          <a:xfrm>
            <a:off x="4305300" y="682625"/>
            <a:ext cx="2263775" cy="5486399"/>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8">
            <a:extLst>
              <a:ext uri="{FF2B5EF4-FFF2-40B4-BE49-F238E27FC236}">
                <a16:creationId xmlns:a16="http://schemas.microsoft.com/office/drawing/2014/main" id="{A4DE8E80-1063-4890-3D52-F10E95DE8406}"/>
              </a:ext>
            </a:extLst>
          </p:cNvPr>
          <p:cNvSpPr>
            <a:spLocks noGrp="1"/>
          </p:cNvSpPr>
          <p:nvPr>
            <p:ph sz="quarter" idx="11"/>
          </p:nvPr>
        </p:nvSpPr>
        <p:spPr>
          <a:xfrm>
            <a:off x="6752895" y="690564"/>
            <a:ext cx="4954135" cy="5486398"/>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892301F5-B69E-0D3C-D5CC-BB2804BD19A5}"/>
              </a:ext>
            </a:extLst>
          </p:cNvPr>
          <p:cNvSpPr/>
          <p:nvPr/>
        </p:nvSpPr>
        <p:spPr>
          <a:xfrm>
            <a:off x="0" y="0"/>
            <a:ext cx="367937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24" name="Title 1">
            <a:extLst>
              <a:ext uri="{FF2B5EF4-FFF2-40B4-BE49-F238E27FC236}">
                <a16:creationId xmlns:a16="http://schemas.microsoft.com/office/drawing/2014/main" id="{36D7EDEC-72BB-0FBE-E163-12DA39051EA0}"/>
              </a:ext>
            </a:extLst>
          </p:cNvPr>
          <p:cNvSpPr>
            <a:spLocks noGrp="1"/>
          </p:cNvSpPr>
          <p:nvPr>
            <p:ph type="title"/>
          </p:nvPr>
        </p:nvSpPr>
        <p:spPr>
          <a:xfrm>
            <a:off x="495301" y="1719263"/>
            <a:ext cx="2859087" cy="2134979"/>
          </a:xfrm>
        </p:spPr>
        <p:txBody>
          <a:bodyPr anchor="ctr">
            <a:noAutofit/>
          </a:bodyPr>
          <a:lstStyle>
            <a:lvl1pPr>
              <a:defRPr sz="4400">
                <a:solidFill>
                  <a:schemeClr val="bg1"/>
                </a:solidFill>
              </a:defRPr>
            </a:lvl1pPr>
          </a:lstStyle>
          <a:p>
            <a:r>
              <a:rPr lang="en-US"/>
              <a:t>Click to edit Master title style</a:t>
            </a:r>
          </a:p>
        </p:txBody>
      </p:sp>
      <p:sp>
        <p:nvSpPr>
          <p:cNvPr id="2" name="Subtitle 2">
            <a:extLst>
              <a:ext uri="{FF2B5EF4-FFF2-40B4-BE49-F238E27FC236}">
                <a16:creationId xmlns:a16="http://schemas.microsoft.com/office/drawing/2014/main" id="{A2F6A416-87B9-D95B-4D6C-EC86BD6B64F5}"/>
              </a:ext>
            </a:extLst>
          </p:cNvPr>
          <p:cNvSpPr>
            <a:spLocks noGrp="1"/>
          </p:cNvSpPr>
          <p:nvPr>
            <p:ph type="subTitle" idx="1"/>
          </p:nvPr>
        </p:nvSpPr>
        <p:spPr>
          <a:xfrm>
            <a:off x="495302" y="3997587"/>
            <a:ext cx="2859086" cy="628841"/>
          </a:xfrm>
        </p:spPr>
        <p:txBody>
          <a:bodyPr/>
          <a:lstStyle>
            <a:lvl1pPr marL="0" indent="0" algn="l">
              <a:buNone/>
              <a:defRPr sz="2100">
                <a:solidFill>
                  <a:schemeClr val="accent2"/>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66">
            <a:extLst>
              <a:ext uri="{FF2B5EF4-FFF2-40B4-BE49-F238E27FC236}">
                <a16:creationId xmlns:a16="http://schemas.microsoft.com/office/drawing/2014/main" id="{0D705D89-7F64-DEBF-AD72-C0380014CD33}"/>
              </a:ext>
            </a:extLst>
          </p:cNvPr>
          <p:cNvSpPr>
            <a:spLocks noGrp="1"/>
          </p:cNvSpPr>
          <p:nvPr>
            <p:ph type="ftr" sz="quarter" idx="3"/>
          </p:nvPr>
        </p:nvSpPr>
        <p:spPr>
          <a:xfrm>
            <a:off x="4305300" y="6405456"/>
            <a:ext cx="6438900" cy="107722"/>
          </a:xfrm>
          <a:prstGeom prst="rect">
            <a:avLst/>
          </a:prstGeom>
        </p:spPr>
        <p:txBody>
          <a:bodyPr vert="horz" lIns="0" tIns="0" rIns="0" bIns="0" rtlCol="0" anchor="b"/>
          <a:lstStyle>
            <a:lvl1pPr algn="l">
              <a:defRPr sz="700">
                <a:solidFill>
                  <a:schemeClr val="tx2"/>
                </a:solidFill>
              </a:defRPr>
            </a:lvl1pPr>
          </a:lstStyle>
          <a:p>
            <a:endParaRPr lang="en-US"/>
          </a:p>
        </p:txBody>
      </p:sp>
      <p:pic>
        <p:nvPicPr>
          <p:cNvPr id="15" name="Graphic 14">
            <a:extLst>
              <a:ext uri="{FF2B5EF4-FFF2-40B4-BE49-F238E27FC236}">
                <a16:creationId xmlns:a16="http://schemas.microsoft.com/office/drawing/2014/main" id="{DDD8AC79-0A9C-4390-C9DE-85891A71D533}"/>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
        <p:nvSpPr>
          <p:cNvPr id="3" name="TextBox 2">
            <a:extLst>
              <a:ext uri="{FF2B5EF4-FFF2-40B4-BE49-F238E27FC236}">
                <a16:creationId xmlns:a16="http://schemas.microsoft.com/office/drawing/2014/main" id="{A2F24600-DD81-1C90-6E3F-FD1DE119855D}"/>
              </a:ext>
            </a:extLst>
          </p:cNvPr>
          <p:cNvSpPr txBox="1"/>
          <p:nvPr userDrawn="1"/>
        </p:nvSpPr>
        <p:spPr>
          <a:xfrm>
            <a:off x="4301339" y="6562481"/>
            <a:ext cx="5029200" cy="107722"/>
          </a:xfrm>
          <a:prstGeom prst="rect">
            <a:avLst/>
          </a:prstGeom>
          <a:noFill/>
        </p:spPr>
        <p:txBody>
          <a:bodyPr wrap="square" lIns="0" tIns="0" rIns="0" bIns="0">
            <a:spAutoFit/>
          </a:bodyPr>
          <a:lstStyle/>
          <a:p>
            <a:r>
              <a:rPr lang="en-US" sz="700">
                <a:solidFill>
                  <a:schemeClr val="tx2"/>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6055665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005AEFFA-08BB-E35F-660C-22FD398AD757}"/>
              </a:ext>
            </a:extLst>
          </p:cNvPr>
          <p:cNvSpPr>
            <a:spLocks noGrp="1"/>
          </p:cNvSpPr>
          <p:nvPr>
            <p:ph type="subTitle" idx="1"/>
          </p:nvPr>
        </p:nvSpPr>
        <p:spPr>
          <a:xfrm>
            <a:off x="502179" y="1032607"/>
            <a:ext cx="11194511" cy="338993"/>
          </a:xfrm>
        </p:spPr>
        <p:txBody>
          <a:bodyPr/>
          <a:lstStyle>
            <a:lvl1pPr marL="0" indent="0" algn="l">
              <a:buNone/>
              <a:defRPr sz="21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Title 5">
            <a:extLst>
              <a:ext uri="{FF2B5EF4-FFF2-40B4-BE49-F238E27FC236}">
                <a16:creationId xmlns:a16="http://schemas.microsoft.com/office/drawing/2014/main" id="{C86E2E2E-C03C-BAE4-D818-84982363EE55}"/>
              </a:ext>
            </a:extLst>
          </p:cNvPr>
          <p:cNvSpPr>
            <a:spLocks noGrp="1"/>
          </p:cNvSpPr>
          <p:nvPr>
            <p:ph type="title"/>
          </p:nvPr>
        </p:nvSpPr>
        <p:spPr/>
        <p:txBody>
          <a:bodyPr/>
          <a:lstStyle/>
          <a:p>
            <a:r>
              <a:rPr lang="en-US"/>
              <a:t>Click to edit Master title style</a:t>
            </a:r>
          </a:p>
        </p:txBody>
      </p:sp>
      <p:sp>
        <p:nvSpPr>
          <p:cNvPr id="10" name="Footer Placeholder 66">
            <a:extLst>
              <a:ext uri="{FF2B5EF4-FFF2-40B4-BE49-F238E27FC236}">
                <a16:creationId xmlns:a16="http://schemas.microsoft.com/office/drawing/2014/main" id="{897E5D5F-07B8-45D8-5BF7-ABED590AC892}"/>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spTree>
    <p:extLst>
      <p:ext uri="{BB962C8B-B14F-4D97-AF65-F5344CB8AC3E}">
        <p14:creationId xmlns:p14="http://schemas.microsoft.com/office/powerpoint/2010/main" val="1487017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randed Light BG option 3">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3934089E-3F37-432B-5F96-E3C7EE3558D0}"/>
              </a:ext>
            </a:extLst>
          </p:cNvPr>
          <p:cNvSpPr/>
          <p:nvPr userDrawn="1"/>
        </p:nvSpPr>
        <p:spPr>
          <a:xfrm>
            <a:off x="0" y="73038"/>
            <a:ext cx="12180888" cy="6780200"/>
          </a:xfrm>
          <a:custGeom>
            <a:avLst/>
            <a:gdLst>
              <a:gd name="connsiteX0" fmla="*/ 12180888 w 12180888"/>
              <a:gd name="connsiteY0" fmla="*/ 0 h 6780200"/>
              <a:gd name="connsiteX1" fmla="*/ 12180888 w 12180888"/>
              <a:gd name="connsiteY1" fmla="*/ 6780200 h 6780200"/>
              <a:gd name="connsiteX2" fmla="*/ 0 w 12180888"/>
              <a:gd name="connsiteY2" fmla="*/ 6780200 h 6780200"/>
              <a:gd name="connsiteX3" fmla="*/ 0 w 12180888"/>
              <a:gd name="connsiteY3" fmla="*/ 913172 h 6780200"/>
              <a:gd name="connsiteX4" fmla="*/ 4896612 w 12180888"/>
              <a:gd name="connsiteY4" fmla="*/ 5800623 h 6780200"/>
              <a:gd name="connsiteX5" fmla="*/ 6368038 w 12180888"/>
              <a:gd name="connsiteY5" fmla="*/ 5801957 h 678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0888" h="6780200">
                <a:moveTo>
                  <a:pt x="12180888" y="0"/>
                </a:moveTo>
                <a:lnTo>
                  <a:pt x="12180888" y="6780200"/>
                </a:lnTo>
                <a:lnTo>
                  <a:pt x="0" y="6780200"/>
                </a:lnTo>
                <a:lnTo>
                  <a:pt x="0" y="913172"/>
                </a:lnTo>
                <a:lnTo>
                  <a:pt x="4896612" y="5800623"/>
                </a:lnTo>
                <a:cubicBezTo>
                  <a:pt x="5301953" y="6205964"/>
                  <a:pt x="5961172" y="6208822"/>
                  <a:pt x="6368038" y="5801957"/>
                </a:cubicBezTo>
                <a:close/>
              </a:path>
            </a:pathLst>
          </a:custGeom>
          <a:solidFill>
            <a:schemeClr val="bg2">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itle 2">
            <a:extLst>
              <a:ext uri="{FF2B5EF4-FFF2-40B4-BE49-F238E27FC236}">
                <a16:creationId xmlns:a16="http://schemas.microsoft.com/office/drawing/2014/main" id="{E38188C5-E269-6440-3BAF-60AEC0EAC5A6}"/>
              </a:ext>
            </a:extLst>
          </p:cNvPr>
          <p:cNvSpPr>
            <a:spLocks noGrp="1"/>
          </p:cNvSpPr>
          <p:nvPr>
            <p:ph type="title"/>
          </p:nvPr>
        </p:nvSpPr>
        <p:spPr/>
        <p:txBody>
          <a:bodyPr anchor="t"/>
          <a:lstStyle/>
          <a:p>
            <a:r>
              <a:rPr lang="en-US"/>
              <a:t>Click to edit Master title style</a:t>
            </a:r>
          </a:p>
        </p:txBody>
      </p:sp>
      <p:sp>
        <p:nvSpPr>
          <p:cNvPr id="6" name="Subtitle 2">
            <a:extLst>
              <a:ext uri="{FF2B5EF4-FFF2-40B4-BE49-F238E27FC236}">
                <a16:creationId xmlns:a16="http://schemas.microsoft.com/office/drawing/2014/main" id="{2480EAA3-4A10-6A44-58FD-5AD16C4E8EBC}"/>
              </a:ext>
            </a:extLst>
          </p:cNvPr>
          <p:cNvSpPr>
            <a:spLocks noGrp="1"/>
          </p:cNvSpPr>
          <p:nvPr>
            <p:ph type="subTitle" idx="1"/>
          </p:nvPr>
        </p:nvSpPr>
        <p:spPr>
          <a:xfrm>
            <a:off x="502179" y="1032607"/>
            <a:ext cx="11194511" cy="338993"/>
          </a:xfrm>
        </p:spPr>
        <p:txBody>
          <a:bodyPr anchor="t"/>
          <a:lstStyle>
            <a:lvl1pPr marL="0" indent="0" algn="l">
              <a:buNone/>
              <a:defRPr sz="21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66">
            <a:extLst>
              <a:ext uri="{FF2B5EF4-FFF2-40B4-BE49-F238E27FC236}">
                <a16:creationId xmlns:a16="http://schemas.microsoft.com/office/drawing/2014/main" id="{60104A99-EBAE-0AF7-F817-DFD9D9CD5ADA}"/>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pic>
        <p:nvPicPr>
          <p:cNvPr id="10" name="Graphic 9">
            <a:extLst>
              <a:ext uri="{FF2B5EF4-FFF2-40B4-BE49-F238E27FC236}">
                <a16:creationId xmlns:a16="http://schemas.microsoft.com/office/drawing/2014/main" id="{C7AA303B-0A0D-3603-3CA8-7CEEFD291423}"/>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
        <p:nvSpPr>
          <p:cNvPr id="2" name="Content Placeholder 18">
            <a:extLst>
              <a:ext uri="{FF2B5EF4-FFF2-40B4-BE49-F238E27FC236}">
                <a16:creationId xmlns:a16="http://schemas.microsoft.com/office/drawing/2014/main" id="{5F6748E9-1AFB-5E11-0462-5E4B1ADA7D35}"/>
              </a:ext>
            </a:extLst>
          </p:cNvPr>
          <p:cNvSpPr>
            <a:spLocks noGrp="1"/>
          </p:cNvSpPr>
          <p:nvPr>
            <p:ph sz="quarter" idx="10"/>
          </p:nvPr>
        </p:nvSpPr>
        <p:spPr>
          <a:xfrm>
            <a:off x="493287" y="1719645"/>
            <a:ext cx="11203413" cy="4449380"/>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09758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ft-side Titl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5802B3E-289D-CCB0-BB8B-D925127F9E60}"/>
              </a:ext>
            </a:extLst>
          </p:cNvPr>
          <p:cNvSpPr>
            <a:spLocks noGrp="1"/>
          </p:cNvSpPr>
          <p:nvPr>
            <p:ph type="title"/>
          </p:nvPr>
        </p:nvSpPr>
        <p:spPr>
          <a:xfrm>
            <a:off x="493288" y="2208282"/>
            <a:ext cx="2861099" cy="1471461"/>
          </a:xfrm>
        </p:spPr>
        <p:txBody>
          <a:bodyPr anchor="ctr">
            <a:noAutofit/>
          </a:bodyPr>
          <a:lstStyle>
            <a:lvl1pPr>
              <a:defRPr>
                <a:solidFill>
                  <a:schemeClr val="tx1"/>
                </a:solidFill>
              </a:defRPr>
            </a:lvl1pPr>
          </a:lstStyle>
          <a:p>
            <a:r>
              <a:rPr lang="en-US"/>
              <a:t>Click to edit Master title style</a:t>
            </a:r>
          </a:p>
        </p:txBody>
      </p:sp>
      <p:sp>
        <p:nvSpPr>
          <p:cNvPr id="7" name="Subtitle 2">
            <a:extLst>
              <a:ext uri="{FF2B5EF4-FFF2-40B4-BE49-F238E27FC236}">
                <a16:creationId xmlns:a16="http://schemas.microsoft.com/office/drawing/2014/main" id="{9C3108B2-8239-05B8-EDEE-89015A2070AB}"/>
              </a:ext>
            </a:extLst>
          </p:cNvPr>
          <p:cNvSpPr>
            <a:spLocks noGrp="1"/>
          </p:cNvSpPr>
          <p:nvPr>
            <p:ph type="subTitle" idx="1"/>
          </p:nvPr>
        </p:nvSpPr>
        <p:spPr>
          <a:xfrm>
            <a:off x="493713" y="3808744"/>
            <a:ext cx="2860675" cy="628841"/>
          </a:xfrm>
        </p:spPr>
        <p:txBody>
          <a:bodyPr>
            <a:noAutofit/>
          </a:bodyPr>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66">
            <a:extLst>
              <a:ext uri="{FF2B5EF4-FFF2-40B4-BE49-F238E27FC236}">
                <a16:creationId xmlns:a16="http://schemas.microsoft.com/office/drawing/2014/main" id="{C37F5F0E-9CD6-659E-AF61-24CDC2660EA2}"/>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spTree>
    <p:extLst>
      <p:ext uri="{BB962C8B-B14F-4D97-AF65-F5344CB8AC3E}">
        <p14:creationId xmlns:p14="http://schemas.microsoft.com/office/powerpoint/2010/main" val="28361543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Light">
    <p:spTree>
      <p:nvGrpSpPr>
        <p:cNvPr id="1" name=""/>
        <p:cNvGrpSpPr/>
        <p:nvPr/>
      </p:nvGrpSpPr>
      <p:grpSpPr>
        <a:xfrm>
          <a:off x="0" y="0"/>
          <a:ext cx="0" cy="0"/>
          <a:chOff x="0" y="0"/>
          <a:chExt cx="0" cy="0"/>
        </a:xfrm>
      </p:grpSpPr>
      <p:sp>
        <p:nvSpPr>
          <p:cNvPr id="3" name="Footer Placeholder 66">
            <a:extLst>
              <a:ext uri="{FF2B5EF4-FFF2-40B4-BE49-F238E27FC236}">
                <a16:creationId xmlns:a16="http://schemas.microsoft.com/office/drawing/2014/main" id="{64591DC0-9950-9377-9402-A5524E298F00}"/>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spTree>
    <p:extLst>
      <p:ext uri="{BB962C8B-B14F-4D97-AF65-F5344CB8AC3E}">
        <p14:creationId xmlns:p14="http://schemas.microsoft.com/office/powerpoint/2010/main" val="34835498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se Stud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5DB76-3583-76FE-C21C-C259AAE771D0}"/>
              </a:ext>
            </a:extLst>
          </p:cNvPr>
          <p:cNvSpPr>
            <a:spLocks noGrp="1"/>
          </p:cNvSpPr>
          <p:nvPr>
            <p:ph type="title"/>
          </p:nvPr>
        </p:nvSpPr>
        <p:spPr>
          <a:xfrm>
            <a:off x="493712" y="306131"/>
            <a:ext cx="11202987" cy="165100"/>
          </a:xfrm>
        </p:spPr>
        <p:txBody>
          <a:bodyPr anchor="t"/>
          <a:lstStyle>
            <a:lvl1pPr marL="0" indent="0" algn="l" defTabSz="914400" rtl="0" eaLnBrk="1" latinLnBrk="0" hangingPunct="1">
              <a:lnSpc>
                <a:spcPct val="100000"/>
              </a:lnSpc>
              <a:spcBef>
                <a:spcPts val="1200"/>
              </a:spcBef>
              <a:spcAft>
                <a:spcPts val="600"/>
              </a:spcAft>
              <a:buClrTx/>
              <a:buFont typeface="Calibri" panose="020F0502020204030204" pitchFamily="34" charset="0"/>
              <a:buChar char="​"/>
              <a:tabLst/>
              <a:defRPr lang="en-US" sz="1200" b="0" i="0" kern="1200" cap="all" baseline="0" dirty="0">
                <a:solidFill>
                  <a:schemeClr val="accent2"/>
                </a:solidFill>
                <a:latin typeface="+mn-lt"/>
                <a:ea typeface="ES Build" pitchFamily="2" charset="77"/>
                <a:cs typeface="+mn-cs"/>
              </a:defRPr>
            </a:lvl1pPr>
          </a:lstStyle>
          <a:p>
            <a:r>
              <a:rPr lang="en-US"/>
              <a:t>Click to edit Master title style</a:t>
            </a:r>
          </a:p>
        </p:txBody>
      </p:sp>
      <p:sp>
        <p:nvSpPr>
          <p:cNvPr id="3" name="Footer Placeholder 2">
            <a:extLst>
              <a:ext uri="{FF2B5EF4-FFF2-40B4-BE49-F238E27FC236}">
                <a16:creationId xmlns:a16="http://schemas.microsoft.com/office/drawing/2014/main" id="{3D483895-7F93-D609-F151-0BDE90B0F032}"/>
              </a:ext>
            </a:extLst>
          </p:cNvPr>
          <p:cNvSpPr>
            <a:spLocks noGrp="1"/>
          </p:cNvSpPr>
          <p:nvPr>
            <p:ph type="ftr" sz="quarter" idx="10"/>
          </p:nvPr>
        </p:nvSpPr>
        <p:spPr/>
        <p:txBody>
          <a:bodyPr/>
          <a:lstStyle/>
          <a:p>
            <a:endParaRPr lang="en-US"/>
          </a:p>
        </p:txBody>
      </p:sp>
      <p:sp>
        <p:nvSpPr>
          <p:cNvPr id="21" name="Picture Placeholder 20">
            <a:extLst>
              <a:ext uri="{FF2B5EF4-FFF2-40B4-BE49-F238E27FC236}">
                <a16:creationId xmlns:a16="http://schemas.microsoft.com/office/drawing/2014/main" id="{D97578E6-6029-1118-F8FB-B0AD6C1DEB98}"/>
              </a:ext>
            </a:extLst>
          </p:cNvPr>
          <p:cNvSpPr>
            <a:spLocks noGrp="1"/>
          </p:cNvSpPr>
          <p:nvPr>
            <p:ph type="pic" sz="quarter" idx="11" hasCustomPrompt="1"/>
          </p:nvPr>
        </p:nvSpPr>
        <p:spPr>
          <a:xfrm>
            <a:off x="489800" y="687509"/>
            <a:ext cx="1313600" cy="1023815"/>
          </a:xfrm>
        </p:spPr>
        <p:txBody>
          <a:bodyPr/>
          <a:lstStyle>
            <a:lvl1pPr algn="ctr">
              <a:defRPr sz="1400"/>
            </a:lvl1pPr>
          </a:lstStyle>
          <a:p>
            <a:r>
              <a:rPr lang="en-US"/>
              <a:t>Place logo here</a:t>
            </a:r>
          </a:p>
        </p:txBody>
      </p:sp>
      <p:cxnSp>
        <p:nvCxnSpPr>
          <p:cNvPr id="22" name="Straight Connector 21">
            <a:extLst>
              <a:ext uri="{FF2B5EF4-FFF2-40B4-BE49-F238E27FC236}">
                <a16:creationId xmlns:a16="http://schemas.microsoft.com/office/drawing/2014/main" id="{0920AA78-CB6C-6F4F-DA6D-4B8F340EF867}"/>
              </a:ext>
            </a:extLst>
          </p:cNvPr>
          <p:cNvCxnSpPr>
            <a:cxnSpLocks/>
          </p:cNvCxnSpPr>
          <p:nvPr userDrawn="1"/>
        </p:nvCxnSpPr>
        <p:spPr>
          <a:xfrm>
            <a:off x="2058805" y="687510"/>
            <a:ext cx="0" cy="1023815"/>
          </a:xfrm>
          <a:prstGeom prst="line">
            <a:avLst/>
          </a:prstGeom>
          <a:noFill/>
          <a:ln w="12700" cap="rnd" cmpd="sng" algn="ctr">
            <a:solidFill>
              <a:srgbClr val="E7E6E6"/>
            </a:solidFill>
            <a:prstDash val="solid"/>
            <a:round/>
            <a:headEnd type="none" w="med" len="sm"/>
            <a:tailEnd type="none" w="sm" len="sm"/>
          </a:ln>
          <a:effectLst/>
        </p:spPr>
      </p:cxnSp>
      <p:sp>
        <p:nvSpPr>
          <p:cNvPr id="29" name="Picture Placeholder 28">
            <a:extLst>
              <a:ext uri="{FF2B5EF4-FFF2-40B4-BE49-F238E27FC236}">
                <a16:creationId xmlns:a16="http://schemas.microsoft.com/office/drawing/2014/main" id="{08F1375A-46CF-A757-66AB-FDEDFE1337B9}"/>
              </a:ext>
            </a:extLst>
          </p:cNvPr>
          <p:cNvSpPr>
            <a:spLocks noGrp="1" noChangeAspect="1"/>
          </p:cNvSpPr>
          <p:nvPr>
            <p:ph type="pic" sz="quarter" idx="12" hasCustomPrompt="1"/>
          </p:nvPr>
        </p:nvSpPr>
        <p:spPr>
          <a:xfrm>
            <a:off x="8478841" y="682626"/>
            <a:ext cx="3217859" cy="3418543"/>
          </a:xfrm>
          <a:custGeom>
            <a:avLst/>
            <a:gdLst>
              <a:gd name="connsiteX0" fmla="*/ 0 w 3242129"/>
              <a:gd name="connsiteY0" fmla="*/ 0 h 3444327"/>
              <a:gd name="connsiteX1" fmla="*/ 89749 w 3242129"/>
              <a:gd name="connsiteY1" fmla="*/ 0 h 3444327"/>
              <a:gd name="connsiteX2" fmla="*/ 708910 w 3242129"/>
              <a:gd name="connsiteY2" fmla="*/ 0 h 3444327"/>
              <a:gd name="connsiteX3" fmla="*/ 2888023 w 3242129"/>
              <a:gd name="connsiteY3" fmla="*/ 0 h 3444327"/>
              <a:gd name="connsiteX4" fmla="*/ 3016536 w 3242129"/>
              <a:gd name="connsiteY4" fmla="*/ 53430 h 3444327"/>
              <a:gd name="connsiteX5" fmla="*/ 3188699 w 3242129"/>
              <a:gd name="connsiteY5" fmla="*/ 225594 h 3444327"/>
              <a:gd name="connsiteX6" fmla="*/ 3242129 w 3242129"/>
              <a:gd name="connsiteY6" fmla="*/ 354106 h 3444327"/>
              <a:gd name="connsiteX7" fmla="*/ 3242129 w 3242129"/>
              <a:gd name="connsiteY7" fmla="*/ 2885928 h 3444327"/>
              <a:gd name="connsiteX8" fmla="*/ 3242129 w 3242129"/>
              <a:gd name="connsiteY8" fmla="*/ 3354577 h 3444327"/>
              <a:gd name="connsiteX9" fmla="*/ 3242129 w 3242129"/>
              <a:gd name="connsiteY9" fmla="*/ 3444327 h 3444327"/>
              <a:gd name="connsiteX10" fmla="*/ 3152380 w 3242129"/>
              <a:gd name="connsiteY10" fmla="*/ 3444327 h 3444327"/>
              <a:gd name="connsiteX11" fmla="*/ 2533219 w 3242129"/>
              <a:gd name="connsiteY11" fmla="*/ 3444327 h 3444327"/>
              <a:gd name="connsiteX12" fmla="*/ 354106 w 3242129"/>
              <a:gd name="connsiteY12" fmla="*/ 3444327 h 3444327"/>
              <a:gd name="connsiteX13" fmla="*/ 225594 w 3242129"/>
              <a:gd name="connsiteY13" fmla="*/ 3390896 h 3444327"/>
              <a:gd name="connsiteX14" fmla="*/ 53430 w 3242129"/>
              <a:gd name="connsiteY14" fmla="*/ 3218732 h 3444327"/>
              <a:gd name="connsiteX15" fmla="*/ 0 w 3242129"/>
              <a:gd name="connsiteY15" fmla="*/ 3090220 h 3444327"/>
              <a:gd name="connsiteX16" fmla="*/ 0 w 3242129"/>
              <a:gd name="connsiteY16" fmla="*/ 558398 h 3444327"/>
              <a:gd name="connsiteX17" fmla="*/ 0 w 3242129"/>
              <a:gd name="connsiteY17" fmla="*/ 89749 h 3444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42129" h="3444327">
                <a:moveTo>
                  <a:pt x="0" y="0"/>
                </a:moveTo>
                <a:lnTo>
                  <a:pt x="89749" y="0"/>
                </a:lnTo>
                <a:lnTo>
                  <a:pt x="708910" y="0"/>
                </a:lnTo>
                <a:lnTo>
                  <a:pt x="2888023" y="0"/>
                </a:lnTo>
                <a:cubicBezTo>
                  <a:pt x="2936216" y="0"/>
                  <a:pt x="2982312" y="19207"/>
                  <a:pt x="3016536" y="53430"/>
                </a:cubicBezTo>
                <a:cubicBezTo>
                  <a:pt x="3078346" y="115242"/>
                  <a:pt x="3126888" y="163783"/>
                  <a:pt x="3188699" y="225594"/>
                </a:cubicBezTo>
                <a:cubicBezTo>
                  <a:pt x="3222922" y="259468"/>
                  <a:pt x="3242129" y="305914"/>
                  <a:pt x="3242129" y="354106"/>
                </a:cubicBezTo>
                <a:lnTo>
                  <a:pt x="3242129" y="2885928"/>
                </a:lnTo>
                <a:lnTo>
                  <a:pt x="3242129" y="3354577"/>
                </a:lnTo>
                <a:lnTo>
                  <a:pt x="3242129" y="3444327"/>
                </a:lnTo>
                <a:lnTo>
                  <a:pt x="3152380" y="3444327"/>
                </a:lnTo>
                <a:lnTo>
                  <a:pt x="2533219" y="3444327"/>
                </a:lnTo>
                <a:lnTo>
                  <a:pt x="354106" y="3444327"/>
                </a:lnTo>
                <a:cubicBezTo>
                  <a:pt x="305914" y="3444327"/>
                  <a:pt x="259817" y="3425120"/>
                  <a:pt x="225594" y="3390896"/>
                </a:cubicBezTo>
                <a:cubicBezTo>
                  <a:pt x="163783" y="3329085"/>
                  <a:pt x="115242" y="3280543"/>
                  <a:pt x="53430" y="3218732"/>
                </a:cubicBezTo>
                <a:cubicBezTo>
                  <a:pt x="19207" y="3184858"/>
                  <a:pt x="0" y="3138412"/>
                  <a:pt x="0" y="3090220"/>
                </a:cubicBezTo>
                <a:lnTo>
                  <a:pt x="0" y="558398"/>
                </a:lnTo>
                <a:lnTo>
                  <a:pt x="0" y="89749"/>
                </a:lnTo>
                <a:close/>
              </a:path>
            </a:pathLst>
          </a:custGeom>
          <a:solidFill>
            <a:schemeClr val="bg2"/>
          </a:solidFill>
        </p:spPr>
        <p:txBody>
          <a:bodyPr wrap="square">
            <a:noAutofit/>
          </a:bodyPr>
          <a:lstStyle>
            <a:lvl1pPr algn="ctr">
              <a:defRPr sz="1400"/>
            </a:lvl1pPr>
          </a:lstStyle>
          <a:p>
            <a:r>
              <a:rPr lang="en-US"/>
              <a:t>Please use Veeam approved images</a:t>
            </a:r>
          </a:p>
        </p:txBody>
      </p:sp>
      <p:sp>
        <p:nvSpPr>
          <p:cNvPr id="31" name="Subtitle 2">
            <a:extLst>
              <a:ext uri="{FF2B5EF4-FFF2-40B4-BE49-F238E27FC236}">
                <a16:creationId xmlns:a16="http://schemas.microsoft.com/office/drawing/2014/main" id="{6AE8CF52-B763-1B63-535D-583AAAF93819}"/>
              </a:ext>
            </a:extLst>
          </p:cNvPr>
          <p:cNvSpPr>
            <a:spLocks noGrp="1"/>
          </p:cNvSpPr>
          <p:nvPr>
            <p:ph type="subTitle" idx="1" hasCustomPrompt="1"/>
          </p:nvPr>
        </p:nvSpPr>
        <p:spPr>
          <a:xfrm>
            <a:off x="2314211" y="808248"/>
            <a:ext cx="5809027" cy="747931"/>
          </a:xfrm>
        </p:spPr>
        <p:txBody>
          <a:bodyPr anchor="ctr"/>
          <a:lstStyle>
            <a:lvl1pPr marL="0" indent="0" algn="l">
              <a:buNone/>
              <a:defRPr kumimoji="0" lang="en-US" sz="2100" b="0" i="0" u="none" strike="noStrike" kern="0" cap="none" spc="0" normalizeH="0" baseline="0" dirty="0">
                <a:ln>
                  <a:noFill/>
                </a:ln>
                <a:solidFill>
                  <a:srgbClr val="8D70F3"/>
                </a:solidFill>
                <a:effectLst/>
                <a:uLnTx/>
                <a:uFillTx/>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case study title </a:t>
            </a:r>
          </a:p>
        </p:txBody>
      </p:sp>
      <p:sp>
        <p:nvSpPr>
          <p:cNvPr id="34" name="Text Placeholder 33">
            <a:extLst>
              <a:ext uri="{FF2B5EF4-FFF2-40B4-BE49-F238E27FC236}">
                <a16:creationId xmlns:a16="http://schemas.microsoft.com/office/drawing/2014/main" id="{7AA290A0-7732-7405-4696-069B12A00EC5}"/>
              </a:ext>
            </a:extLst>
          </p:cNvPr>
          <p:cNvSpPr>
            <a:spLocks noGrp="1"/>
          </p:cNvSpPr>
          <p:nvPr>
            <p:ph type="body" sz="quarter" idx="13"/>
          </p:nvPr>
        </p:nvSpPr>
        <p:spPr>
          <a:xfrm>
            <a:off x="351492" y="1862713"/>
            <a:ext cx="7771746" cy="2591812"/>
          </a:xfrm>
        </p:spPr>
        <p:txBody>
          <a:bodyPr/>
          <a:lstStyle>
            <a:lvl1pPr marL="146304" indent="-146304">
              <a:spcAft>
                <a:spcPts val="1200"/>
              </a:spcAft>
              <a:buFont typeface="ES Build Neutral" pitchFamily="50" charset="0"/>
              <a:buChar char="“"/>
              <a:defRPr sz="3400">
                <a:latin typeface="ES Build "/>
              </a:defRPr>
            </a:lvl1pPr>
            <a:lvl2pPr marL="344488" indent="-182880">
              <a:buFont typeface="Microsoft Sans Serif" panose="020B0604020202020204" pitchFamily="34" charset="0"/>
              <a:buChar char="—"/>
              <a:defRPr lang="en-US" sz="1600" b="0" i="0" kern="1200" dirty="0">
                <a:solidFill>
                  <a:schemeClr val="accent4"/>
                </a:solidFill>
                <a:latin typeface="+mn-lt"/>
                <a:ea typeface="ES Build" pitchFamily="2" charset="77"/>
                <a:cs typeface="+mn-cs"/>
              </a:defRPr>
            </a:lvl2pPr>
            <a:lvl3pPr marL="344488" indent="-182880">
              <a:defRPr/>
            </a:lvl3pPr>
            <a:lvl4pPr marL="344488" indent="-182880">
              <a:defRPr/>
            </a:lvl4pPr>
            <a:lvl5pPr marL="344488" indent="-18288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7" name="Straight Connector 36">
            <a:extLst>
              <a:ext uri="{FF2B5EF4-FFF2-40B4-BE49-F238E27FC236}">
                <a16:creationId xmlns:a16="http://schemas.microsoft.com/office/drawing/2014/main" id="{3AFC5A06-EA2E-CCCE-6E41-52D578F53290}"/>
              </a:ext>
            </a:extLst>
          </p:cNvPr>
          <p:cNvCxnSpPr>
            <a:cxnSpLocks/>
          </p:cNvCxnSpPr>
          <p:nvPr userDrawn="1"/>
        </p:nvCxnSpPr>
        <p:spPr>
          <a:xfrm>
            <a:off x="4305300" y="4637314"/>
            <a:ext cx="0" cy="1529443"/>
          </a:xfrm>
          <a:prstGeom prst="line">
            <a:avLst/>
          </a:prstGeom>
          <a:noFill/>
          <a:ln w="12700" cap="rnd" cmpd="sng" algn="ctr">
            <a:solidFill>
              <a:srgbClr val="E7E6E6"/>
            </a:solidFill>
            <a:prstDash val="solid"/>
            <a:round/>
            <a:headEnd type="none" w="med" len="sm"/>
            <a:tailEnd type="none" w="sm" len="sm"/>
          </a:ln>
          <a:effectLst/>
        </p:spPr>
      </p:cxnSp>
      <p:sp>
        <p:nvSpPr>
          <p:cNvPr id="42" name="Content Placeholder 40">
            <a:extLst>
              <a:ext uri="{FF2B5EF4-FFF2-40B4-BE49-F238E27FC236}">
                <a16:creationId xmlns:a16="http://schemas.microsoft.com/office/drawing/2014/main" id="{FF2532BF-4680-53D7-A2A5-5AE22750B87F}"/>
              </a:ext>
            </a:extLst>
          </p:cNvPr>
          <p:cNvSpPr>
            <a:spLocks noGrp="1"/>
          </p:cNvSpPr>
          <p:nvPr>
            <p:ph sz="quarter" idx="14"/>
          </p:nvPr>
        </p:nvSpPr>
        <p:spPr>
          <a:xfrm>
            <a:off x="496833" y="4553116"/>
            <a:ext cx="3570335" cy="1615909"/>
          </a:xfrm>
        </p:spPr>
        <p:txBody>
          <a:bodyPr/>
          <a:lstStyle>
            <a:lvl1pPr>
              <a:spcAft>
                <a:spcPts val="900"/>
              </a:spcAft>
              <a:defRPr>
                <a:solidFill>
                  <a:schemeClr val="accent2"/>
                </a:solidFill>
                <a:latin typeface="+mj-lt"/>
              </a:defRPr>
            </a:lvl1pPr>
            <a:lvl2pPr marL="0" indent="0">
              <a:lnSpc>
                <a:spcPct val="110000"/>
              </a:lnSpc>
              <a:buFont typeface="Calibri" panose="020F0502020204030204" pitchFamily="34" charset="0"/>
              <a:buChar char="​"/>
              <a:defRPr sz="1600"/>
            </a:lvl2pPr>
            <a:lvl3pPr marL="173736" indent="-173736">
              <a:lnSpc>
                <a:spcPct val="110000"/>
              </a:lnSpc>
              <a:defRPr sz="1200"/>
            </a:lvl3pPr>
            <a:lvl4pPr marL="173736" indent="-173736">
              <a:lnSpc>
                <a:spcPct val="110000"/>
              </a:lnSpc>
              <a:defRPr sz="1200"/>
            </a:lvl4pPr>
            <a:lvl5pPr marL="173736" indent="-173736">
              <a:lnSpc>
                <a:spcPct val="11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Content Placeholder 40">
            <a:extLst>
              <a:ext uri="{FF2B5EF4-FFF2-40B4-BE49-F238E27FC236}">
                <a16:creationId xmlns:a16="http://schemas.microsoft.com/office/drawing/2014/main" id="{2092FE40-83A8-3C3F-87F7-C1D5BE8568F7}"/>
              </a:ext>
            </a:extLst>
          </p:cNvPr>
          <p:cNvSpPr>
            <a:spLocks noGrp="1"/>
          </p:cNvSpPr>
          <p:nvPr>
            <p:ph sz="quarter" idx="15"/>
          </p:nvPr>
        </p:nvSpPr>
        <p:spPr>
          <a:xfrm>
            <a:off x="4531234" y="4553116"/>
            <a:ext cx="3464940" cy="1615909"/>
          </a:xfrm>
        </p:spPr>
        <p:txBody>
          <a:bodyPr/>
          <a:lstStyle>
            <a:lvl1pPr>
              <a:spcAft>
                <a:spcPts val="900"/>
              </a:spcAft>
              <a:defRPr>
                <a:solidFill>
                  <a:schemeClr val="accent2"/>
                </a:solidFill>
                <a:latin typeface="ES Build "/>
              </a:defRPr>
            </a:lvl1pPr>
            <a:lvl2pPr marL="0" indent="0">
              <a:lnSpc>
                <a:spcPct val="110000"/>
              </a:lnSpc>
              <a:buFont typeface="Calibri" panose="020F0502020204030204" pitchFamily="34" charset="0"/>
              <a:buChar char="​"/>
              <a:defRPr sz="1600"/>
            </a:lvl2pPr>
            <a:lvl3pPr marL="173736" indent="-173736">
              <a:lnSpc>
                <a:spcPct val="110000"/>
              </a:lnSpc>
              <a:defRPr sz="1200"/>
            </a:lvl3pPr>
            <a:lvl4pPr marL="173736" indent="-173736">
              <a:lnSpc>
                <a:spcPct val="110000"/>
              </a:lnSpc>
              <a:defRPr sz="1200"/>
            </a:lvl4pPr>
            <a:lvl5pPr marL="173736" indent="-173736">
              <a:lnSpc>
                <a:spcPct val="11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Content Placeholder 40">
            <a:extLst>
              <a:ext uri="{FF2B5EF4-FFF2-40B4-BE49-F238E27FC236}">
                <a16:creationId xmlns:a16="http://schemas.microsoft.com/office/drawing/2014/main" id="{CE2CB06E-DD2D-D95A-5268-F43E7277542C}"/>
              </a:ext>
            </a:extLst>
          </p:cNvPr>
          <p:cNvSpPr>
            <a:spLocks noGrp="1"/>
          </p:cNvSpPr>
          <p:nvPr>
            <p:ph sz="quarter" idx="16"/>
          </p:nvPr>
        </p:nvSpPr>
        <p:spPr>
          <a:xfrm>
            <a:off x="8222107" y="4550848"/>
            <a:ext cx="3464940" cy="1615909"/>
          </a:xfrm>
        </p:spPr>
        <p:txBody>
          <a:bodyPr/>
          <a:lstStyle>
            <a:lvl1pPr>
              <a:spcAft>
                <a:spcPts val="900"/>
              </a:spcAft>
              <a:defRPr>
                <a:solidFill>
                  <a:schemeClr val="accent2"/>
                </a:solidFill>
                <a:latin typeface="+mn-lt"/>
              </a:defRPr>
            </a:lvl1pPr>
            <a:lvl2pPr marL="0" indent="0">
              <a:lnSpc>
                <a:spcPct val="110000"/>
              </a:lnSpc>
              <a:buFont typeface="Calibri" panose="020F0502020204030204" pitchFamily="34" charset="0"/>
              <a:buChar char="​"/>
              <a:defRPr sz="1600"/>
            </a:lvl2pPr>
            <a:lvl3pPr marL="173736" indent="-173736">
              <a:lnSpc>
                <a:spcPct val="110000"/>
              </a:lnSpc>
              <a:defRPr sz="1200"/>
            </a:lvl3pPr>
            <a:lvl4pPr marL="173736" indent="-173736">
              <a:lnSpc>
                <a:spcPct val="110000"/>
              </a:lnSpc>
              <a:defRPr sz="1200"/>
            </a:lvl4pPr>
            <a:lvl5pPr marL="173736" indent="-173736">
              <a:lnSpc>
                <a:spcPct val="11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69750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y Image Botto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5DB76-3583-76FE-C21C-C259AAE771D0}"/>
              </a:ext>
            </a:extLst>
          </p:cNvPr>
          <p:cNvSpPr>
            <a:spLocks noGrp="1"/>
          </p:cNvSpPr>
          <p:nvPr>
            <p:ph type="title"/>
          </p:nvPr>
        </p:nvSpPr>
        <p:spPr>
          <a:xfrm>
            <a:off x="493713" y="306131"/>
            <a:ext cx="7032626" cy="165100"/>
          </a:xfrm>
        </p:spPr>
        <p:txBody>
          <a:bodyPr anchor="t"/>
          <a:lstStyle>
            <a:lvl1pPr marL="0" indent="0" algn="l" defTabSz="914400" rtl="0" eaLnBrk="1" latinLnBrk="0" hangingPunct="1">
              <a:lnSpc>
                <a:spcPct val="100000"/>
              </a:lnSpc>
              <a:spcBef>
                <a:spcPts val="1200"/>
              </a:spcBef>
              <a:spcAft>
                <a:spcPts val="600"/>
              </a:spcAft>
              <a:buClrTx/>
              <a:buFont typeface="Calibri" panose="020F0502020204030204" pitchFamily="34" charset="0"/>
              <a:buChar char="​"/>
              <a:tabLst/>
              <a:defRPr lang="en-US" sz="1200" b="0" i="0" kern="1200" cap="all" baseline="0" dirty="0">
                <a:solidFill>
                  <a:schemeClr val="accent2"/>
                </a:solidFill>
                <a:latin typeface="+mn-lt"/>
                <a:ea typeface="ES Build" pitchFamily="2" charset="77"/>
                <a:cs typeface="+mn-cs"/>
              </a:defRPr>
            </a:lvl1pPr>
          </a:lstStyle>
          <a:p>
            <a:r>
              <a:rPr lang="en-US"/>
              <a:t>Click to edit Master title style</a:t>
            </a:r>
          </a:p>
        </p:txBody>
      </p:sp>
      <p:sp>
        <p:nvSpPr>
          <p:cNvPr id="3" name="Footer Placeholder 2">
            <a:extLst>
              <a:ext uri="{FF2B5EF4-FFF2-40B4-BE49-F238E27FC236}">
                <a16:creationId xmlns:a16="http://schemas.microsoft.com/office/drawing/2014/main" id="{3D483895-7F93-D609-F151-0BDE90B0F032}"/>
              </a:ext>
            </a:extLst>
          </p:cNvPr>
          <p:cNvSpPr>
            <a:spLocks noGrp="1"/>
          </p:cNvSpPr>
          <p:nvPr>
            <p:ph type="ftr" sz="quarter" idx="10"/>
          </p:nvPr>
        </p:nvSpPr>
        <p:spPr/>
        <p:txBody>
          <a:bodyPr/>
          <a:lstStyle/>
          <a:p>
            <a:endParaRPr lang="en-US"/>
          </a:p>
        </p:txBody>
      </p:sp>
      <p:sp>
        <p:nvSpPr>
          <p:cNvPr id="21" name="Picture Placeholder 20">
            <a:extLst>
              <a:ext uri="{FF2B5EF4-FFF2-40B4-BE49-F238E27FC236}">
                <a16:creationId xmlns:a16="http://schemas.microsoft.com/office/drawing/2014/main" id="{D97578E6-6029-1118-F8FB-B0AD6C1DEB98}"/>
              </a:ext>
            </a:extLst>
          </p:cNvPr>
          <p:cNvSpPr>
            <a:spLocks noGrp="1"/>
          </p:cNvSpPr>
          <p:nvPr>
            <p:ph type="pic" sz="quarter" idx="11" hasCustomPrompt="1"/>
          </p:nvPr>
        </p:nvSpPr>
        <p:spPr>
          <a:xfrm>
            <a:off x="489800" y="687509"/>
            <a:ext cx="1313600" cy="1023815"/>
          </a:xfrm>
        </p:spPr>
        <p:txBody>
          <a:bodyPr/>
          <a:lstStyle>
            <a:lvl1pPr algn="ctr">
              <a:defRPr sz="1400"/>
            </a:lvl1pPr>
          </a:lstStyle>
          <a:p>
            <a:r>
              <a:rPr lang="en-US"/>
              <a:t>Place logo here</a:t>
            </a:r>
          </a:p>
        </p:txBody>
      </p:sp>
      <p:sp>
        <p:nvSpPr>
          <p:cNvPr id="31" name="Subtitle 2">
            <a:extLst>
              <a:ext uri="{FF2B5EF4-FFF2-40B4-BE49-F238E27FC236}">
                <a16:creationId xmlns:a16="http://schemas.microsoft.com/office/drawing/2014/main" id="{6AE8CF52-B763-1B63-535D-583AAAF93819}"/>
              </a:ext>
            </a:extLst>
          </p:cNvPr>
          <p:cNvSpPr>
            <a:spLocks noGrp="1"/>
          </p:cNvSpPr>
          <p:nvPr>
            <p:ph type="subTitle" idx="1" hasCustomPrompt="1"/>
          </p:nvPr>
        </p:nvSpPr>
        <p:spPr>
          <a:xfrm>
            <a:off x="8123237" y="431800"/>
            <a:ext cx="3573461" cy="1279525"/>
          </a:xfrm>
        </p:spPr>
        <p:txBody>
          <a:bodyPr anchor="t"/>
          <a:lstStyle>
            <a:lvl1pPr marL="0" indent="0" algn="l">
              <a:buNone/>
              <a:defRPr kumimoji="0" lang="en-US" sz="2100" b="0" i="0" u="none" strike="noStrike" kern="0" cap="none" spc="0" normalizeH="0" baseline="0" dirty="0">
                <a:ln>
                  <a:noFill/>
                </a:ln>
                <a:solidFill>
                  <a:srgbClr val="8D70F3"/>
                </a:solidFill>
                <a:effectLst/>
                <a:uLnTx/>
                <a:uFillTx/>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case study title </a:t>
            </a:r>
          </a:p>
        </p:txBody>
      </p:sp>
      <p:sp>
        <p:nvSpPr>
          <p:cNvPr id="34" name="Text Placeholder 33">
            <a:extLst>
              <a:ext uri="{FF2B5EF4-FFF2-40B4-BE49-F238E27FC236}">
                <a16:creationId xmlns:a16="http://schemas.microsoft.com/office/drawing/2014/main" id="{7AA290A0-7732-7405-4696-069B12A00EC5}"/>
              </a:ext>
            </a:extLst>
          </p:cNvPr>
          <p:cNvSpPr>
            <a:spLocks noGrp="1"/>
          </p:cNvSpPr>
          <p:nvPr>
            <p:ph type="body" sz="quarter" idx="13"/>
          </p:nvPr>
        </p:nvSpPr>
        <p:spPr>
          <a:xfrm>
            <a:off x="351493" y="1862713"/>
            <a:ext cx="6817658" cy="4306312"/>
          </a:xfrm>
        </p:spPr>
        <p:txBody>
          <a:bodyPr/>
          <a:lstStyle>
            <a:lvl1pPr marL="146304" indent="-146304">
              <a:spcAft>
                <a:spcPts val="1200"/>
              </a:spcAft>
              <a:buFont typeface="ES Build Neutral" pitchFamily="50" charset="0"/>
              <a:buChar char="“"/>
              <a:defRPr sz="3400">
                <a:latin typeface="ES Build "/>
              </a:defRPr>
            </a:lvl1pPr>
            <a:lvl2pPr marL="344488" indent="-182880">
              <a:buFont typeface="Microsoft Sans Serif" panose="020B0604020202020204" pitchFamily="34" charset="0"/>
              <a:buChar char="—"/>
              <a:defRPr lang="en-US" sz="1600" b="0" i="0" kern="1200" dirty="0">
                <a:solidFill>
                  <a:schemeClr val="accent4"/>
                </a:solidFill>
                <a:latin typeface="+mn-lt"/>
                <a:ea typeface="ES Build" pitchFamily="2" charset="77"/>
                <a:cs typeface="+mn-cs"/>
              </a:defRPr>
            </a:lvl2pPr>
            <a:lvl3pPr marL="344488" indent="-182880">
              <a:defRPr/>
            </a:lvl3pPr>
            <a:lvl4pPr marL="344488" indent="-182880">
              <a:defRPr/>
            </a:lvl4pPr>
            <a:lvl5pPr marL="344488" indent="-18288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Content Placeholder 40">
            <a:extLst>
              <a:ext uri="{FF2B5EF4-FFF2-40B4-BE49-F238E27FC236}">
                <a16:creationId xmlns:a16="http://schemas.microsoft.com/office/drawing/2014/main" id="{FF2532BF-4680-53D7-A2A5-5AE22750B87F}"/>
              </a:ext>
            </a:extLst>
          </p:cNvPr>
          <p:cNvSpPr>
            <a:spLocks noGrp="1"/>
          </p:cNvSpPr>
          <p:nvPr>
            <p:ph sz="quarter" idx="14"/>
          </p:nvPr>
        </p:nvSpPr>
        <p:spPr>
          <a:xfrm>
            <a:off x="8123239" y="1936959"/>
            <a:ext cx="3573461" cy="4237418"/>
          </a:xfrm>
        </p:spPr>
        <p:txBody>
          <a:bodyPr/>
          <a:lstStyle>
            <a:lvl1pPr>
              <a:spcAft>
                <a:spcPts val="900"/>
              </a:spcAft>
              <a:defRPr>
                <a:solidFill>
                  <a:schemeClr val="accent2"/>
                </a:solidFill>
              </a:defRPr>
            </a:lvl1pPr>
            <a:lvl2pPr marL="0" indent="0">
              <a:lnSpc>
                <a:spcPct val="110000"/>
              </a:lnSpc>
              <a:buFont typeface="Calibri" panose="020F0502020204030204" pitchFamily="34" charset="0"/>
              <a:buChar char="​"/>
              <a:defRPr sz="1600"/>
            </a:lvl2pPr>
            <a:lvl3pPr marL="173736" indent="-173736">
              <a:lnSpc>
                <a:spcPct val="110000"/>
              </a:lnSpc>
              <a:defRPr sz="1200"/>
            </a:lvl3pPr>
            <a:lvl4pPr marL="173736" indent="-173736">
              <a:lnSpc>
                <a:spcPct val="110000"/>
              </a:lnSpc>
              <a:defRPr sz="1200"/>
            </a:lvl4pPr>
            <a:lvl5pPr marL="173736" indent="-173736">
              <a:lnSpc>
                <a:spcPct val="11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D1D0442B-7798-917E-7B5A-5746626D2C01}"/>
              </a:ext>
            </a:extLst>
          </p:cNvPr>
          <p:cNvCxnSpPr>
            <a:cxnSpLocks/>
          </p:cNvCxnSpPr>
          <p:nvPr userDrawn="1"/>
        </p:nvCxnSpPr>
        <p:spPr>
          <a:xfrm>
            <a:off x="7722165" y="335280"/>
            <a:ext cx="0" cy="5839097"/>
          </a:xfrm>
          <a:prstGeom prst="line">
            <a:avLst/>
          </a:prstGeom>
          <a:noFill/>
          <a:ln w="12700" cap="rnd" cmpd="sng" algn="ctr">
            <a:solidFill>
              <a:srgbClr val="E7E6E6"/>
            </a:solidFill>
            <a:prstDash val="solid"/>
            <a:round/>
            <a:headEnd type="none" w="med" len="sm"/>
            <a:tailEnd type="none" w="sm" len="sm"/>
          </a:ln>
          <a:effectLst/>
        </p:spPr>
      </p:cxnSp>
      <p:sp>
        <p:nvSpPr>
          <p:cNvPr id="11" name="Picture Placeholder 10">
            <a:extLst>
              <a:ext uri="{FF2B5EF4-FFF2-40B4-BE49-F238E27FC236}">
                <a16:creationId xmlns:a16="http://schemas.microsoft.com/office/drawing/2014/main" id="{5D2E1115-292E-049E-1996-E0C28123E335}"/>
              </a:ext>
            </a:extLst>
          </p:cNvPr>
          <p:cNvSpPr>
            <a:spLocks noGrp="1" noChangeAspect="1"/>
          </p:cNvSpPr>
          <p:nvPr>
            <p:ph type="pic" sz="quarter" idx="17" hasCustomPrompt="1"/>
          </p:nvPr>
        </p:nvSpPr>
        <p:spPr>
          <a:xfrm>
            <a:off x="3259681" y="3929988"/>
            <a:ext cx="3909469" cy="2239037"/>
          </a:xfrm>
          <a:custGeom>
            <a:avLst/>
            <a:gdLst>
              <a:gd name="connsiteX0" fmla="*/ 0 w 7823270"/>
              <a:gd name="connsiteY0" fmla="*/ 0 h 4480555"/>
              <a:gd name="connsiteX1" fmla="*/ 7435077 w 7823270"/>
              <a:gd name="connsiteY1" fmla="*/ 0 h 4480555"/>
              <a:gd name="connsiteX2" fmla="*/ 7566290 w 7823270"/>
              <a:gd name="connsiteY2" fmla="*/ 54466 h 4480555"/>
              <a:gd name="connsiteX3" fmla="*/ 7768804 w 7823270"/>
              <a:gd name="connsiteY3" fmla="*/ 256980 h 4480555"/>
              <a:gd name="connsiteX4" fmla="*/ 7823270 w 7823270"/>
              <a:gd name="connsiteY4" fmla="*/ 388193 h 4480555"/>
              <a:gd name="connsiteX5" fmla="*/ 7823270 w 7823270"/>
              <a:gd name="connsiteY5" fmla="*/ 4480555 h 4480555"/>
              <a:gd name="connsiteX6" fmla="*/ 388688 w 7823270"/>
              <a:gd name="connsiteY6" fmla="*/ 4480555 h 4480555"/>
              <a:gd name="connsiteX7" fmla="*/ 256980 w 7823270"/>
              <a:gd name="connsiteY7" fmla="*/ 4426089 h 4480555"/>
              <a:gd name="connsiteX8" fmla="*/ 54466 w 7823270"/>
              <a:gd name="connsiteY8" fmla="*/ 4223575 h 4480555"/>
              <a:gd name="connsiteX9" fmla="*/ 0 w 7823270"/>
              <a:gd name="connsiteY9" fmla="*/ 4092362 h 448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23270" h="4480555">
                <a:moveTo>
                  <a:pt x="0" y="0"/>
                </a:moveTo>
                <a:lnTo>
                  <a:pt x="7435077" y="0"/>
                </a:lnTo>
                <a:cubicBezTo>
                  <a:pt x="7484097" y="0"/>
                  <a:pt x="7531630" y="19806"/>
                  <a:pt x="7566290" y="54466"/>
                </a:cubicBezTo>
                <a:cubicBezTo>
                  <a:pt x="7639572" y="127747"/>
                  <a:pt x="7695523" y="183698"/>
                  <a:pt x="7768804" y="256980"/>
                </a:cubicBezTo>
                <a:cubicBezTo>
                  <a:pt x="7803464" y="291640"/>
                  <a:pt x="7823270" y="338679"/>
                  <a:pt x="7823270" y="388193"/>
                </a:cubicBezTo>
                <a:lnTo>
                  <a:pt x="7823270" y="4480555"/>
                </a:lnTo>
                <a:lnTo>
                  <a:pt x="388688" y="4480555"/>
                </a:lnTo>
                <a:cubicBezTo>
                  <a:pt x="339173" y="4480555"/>
                  <a:pt x="291640" y="4460749"/>
                  <a:pt x="256980" y="4426089"/>
                </a:cubicBezTo>
                <a:cubicBezTo>
                  <a:pt x="183698" y="4352807"/>
                  <a:pt x="127747" y="4296857"/>
                  <a:pt x="54466" y="4223575"/>
                </a:cubicBezTo>
                <a:cubicBezTo>
                  <a:pt x="19806" y="4188915"/>
                  <a:pt x="0" y="4141876"/>
                  <a:pt x="0" y="4092362"/>
                </a:cubicBezTo>
                <a:close/>
              </a:path>
            </a:pathLst>
          </a:custGeom>
          <a:solidFill>
            <a:schemeClr val="bg2"/>
          </a:solidFill>
        </p:spPr>
        <p:txBody>
          <a:bodyPr vert="horz" wrap="square" lIns="0" tIns="0" rIns="0" bIns="0" rtlCol="0">
            <a:noAutofit/>
          </a:bodyPr>
          <a:lstStyle>
            <a:lvl1pPr algn="ctr">
              <a:defRPr lang="en-US" sz="1400"/>
            </a:lvl1pPr>
          </a:lstStyle>
          <a:p>
            <a:r>
              <a:rPr lang="en-US"/>
              <a:t>Please use Veeam approved images</a:t>
            </a:r>
          </a:p>
        </p:txBody>
      </p:sp>
    </p:spTree>
    <p:extLst>
      <p:ext uri="{BB962C8B-B14F-4D97-AF65-F5344CB8AC3E}">
        <p14:creationId xmlns:p14="http://schemas.microsoft.com/office/powerpoint/2010/main" val="22516268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Left-side Title Dark">
    <p:bg>
      <p:bgPr>
        <a:solidFill>
          <a:schemeClr val="accent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F0E8D4A-B91E-1851-1391-1D742053E08C}"/>
              </a:ext>
            </a:extLst>
          </p:cNvPr>
          <p:cNvSpPr>
            <a:spLocks noGrp="1"/>
          </p:cNvSpPr>
          <p:nvPr>
            <p:ph type="title"/>
          </p:nvPr>
        </p:nvSpPr>
        <p:spPr>
          <a:xfrm>
            <a:off x="493288" y="2397125"/>
            <a:ext cx="2861099" cy="1471461"/>
          </a:xfrm>
        </p:spPr>
        <p:txBody>
          <a:bodyPr>
            <a:noAutofit/>
          </a:bodyPr>
          <a:lstStyle>
            <a:lvl1pPr>
              <a:defRPr>
                <a:solidFill>
                  <a:schemeClr val="bg1"/>
                </a:solidFill>
              </a:defRPr>
            </a:lvl1pPr>
          </a:lstStyle>
          <a:p>
            <a:r>
              <a:rPr lang="en-US"/>
              <a:t>Click to edit Master title style</a:t>
            </a:r>
          </a:p>
        </p:txBody>
      </p:sp>
      <p:sp>
        <p:nvSpPr>
          <p:cNvPr id="2" name="Subtitle 2">
            <a:extLst>
              <a:ext uri="{FF2B5EF4-FFF2-40B4-BE49-F238E27FC236}">
                <a16:creationId xmlns:a16="http://schemas.microsoft.com/office/drawing/2014/main" id="{2AC6C291-DD7C-A3F1-3AE8-B348ECD39CAE}"/>
              </a:ext>
            </a:extLst>
          </p:cNvPr>
          <p:cNvSpPr>
            <a:spLocks noGrp="1"/>
          </p:cNvSpPr>
          <p:nvPr>
            <p:ph type="subTitle" idx="1"/>
          </p:nvPr>
        </p:nvSpPr>
        <p:spPr>
          <a:xfrm>
            <a:off x="493713" y="3997587"/>
            <a:ext cx="2860675" cy="628841"/>
          </a:xfrm>
        </p:spPr>
        <p:txBody>
          <a:bodyPr>
            <a:noAutofit/>
          </a:bodyPr>
          <a:lstStyle>
            <a:lvl1pPr marL="0" indent="0" algn="l">
              <a:buNone/>
              <a:defRPr sz="21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Graphic 6">
            <a:extLst>
              <a:ext uri="{FF2B5EF4-FFF2-40B4-BE49-F238E27FC236}">
                <a16:creationId xmlns:a16="http://schemas.microsoft.com/office/drawing/2014/main" id="{45F8E6F8-AFDE-B60E-EB55-C0EE63349CDF}"/>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029188" y="6363550"/>
            <a:ext cx="667512" cy="202915"/>
          </a:xfrm>
          <a:prstGeom prst="rect">
            <a:avLst/>
          </a:prstGeom>
        </p:spPr>
      </p:pic>
      <p:sp>
        <p:nvSpPr>
          <p:cNvPr id="8" name="Footer Placeholder 66">
            <a:extLst>
              <a:ext uri="{FF2B5EF4-FFF2-40B4-BE49-F238E27FC236}">
                <a16:creationId xmlns:a16="http://schemas.microsoft.com/office/drawing/2014/main" id="{8143B07C-D2B0-AF1A-2710-1E5BDDEBE1BD}"/>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bg1"/>
                </a:solidFill>
              </a:defRPr>
            </a:lvl1pPr>
          </a:lstStyle>
          <a:p>
            <a:endParaRPr lang="en-US"/>
          </a:p>
        </p:txBody>
      </p:sp>
      <p:sp>
        <p:nvSpPr>
          <p:cNvPr id="3" name="TextBox 2">
            <a:extLst>
              <a:ext uri="{FF2B5EF4-FFF2-40B4-BE49-F238E27FC236}">
                <a16:creationId xmlns:a16="http://schemas.microsoft.com/office/drawing/2014/main" id="{1A309DFA-B603-FC19-3BBE-137AD8327257}"/>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36352210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Dark">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E1EFF03-2B6D-DE21-5340-445DA0736492}"/>
              </a:ext>
            </a:extLst>
          </p:cNvPr>
          <p:cNvSpPr>
            <a:spLocks noGrp="1"/>
          </p:cNvSpPr>
          <p:nvPr>
            <p:ph type="title"/>
          </p:nvPr>
        </p:nvSpPr>
        <p:spPr>
          <a:xfrm>
            <a:off x="1206500" y="1484463"/>
            <a:ext cx="9775825" cy="3655862"/>
          </a:xfrm>
        </p:spPr>
        <p:txBody>
          <a:bodyPr anchor="t">
            <a:noAutofit/>
          </a:bodyPr>
          <a:lstStyle>
            <a:lvl1pPr>
              <a:lnSpc>
                <a:spcPct val="87000"/>
              </a:lnSpc>
              <a:defRPr lang="en-US" sz="5500" b="0" i="0" kern="1200" dirty="0">
                <a:solidFill>
                  <a:schemeClr val="accent2"/>
                </a:solidFill>
                <a:effectLst/>
                <a:latin typeface="+mn-lt"/>
                <a:ea typeface="ES Build" pitchFamily="2" charset="77"/>
                <a:cs typeface="+mn-cs"/>
              </a:defRPr>
            </a:lvl1pPr>
          </a:lstStyle>
          <a:p>
            <a:r>
              <a:rPr lang="en-US"/>
              <a:t>Click to edit Master title style</a:t>
            </a:r>
          </a:p>
        </p:txBody>
      </p:sp>
      <p:cxnSp>
        <p:nvCxnSpPr>
          <p:cNvPr id="5" name="Straight Connector 4">
            <a:extLst>
              <a:ext uri="{FF2B5EF4-FFF2-40B4-BE49-F238E27FC236}">
                <a16:creationId xmlns:a16="http://schemas.microsoft.com/office/drawing/2014/main" id="{C6F084B1-AF97-1A4C-F7E6-96B3B93F93A8}"/>
              </a:ext>
            </a:extLst>
          </p:cNvPr>
          <p:cNvCxnSpPr>
            <a:cxnSpLocks/>
          </p:cNvCxnSpPr>
          <p:nvPr userDrawn="1"/>
        </p:nvCxnSpPr>
        <p:spPr>
          <a:xfrm>
            <a:off x="1206500" y="5308772"/>
            <a:ext cx="9775825" cy="0"/>
          </a:xfrm>
          <a:prstGeom prst="line">
            <a:avLst/>
          </a:prstGeom>
          <a:ln w="19050" cap="sq">
            <a:solidFill>
              <a:srgbClr val="8E71F4"/>
            </a:solidFill>
            <a:miter lim="800000"/>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26" name="object 2">
            <a:extLst>
              <a:ext uri="{FF2B5EF4-FFF2-40B4-BE49-F238E27FC236}">
                <a16:creationId xmlns:a16="http://schemas.microsoft.com/office/drawing/2014/main" id="{37F595A5-0DF7-C3DE-1313-FCCFBFD328CF}"/>
              </a:ext>
            </a:extLst>
          </p:cNvPr>
          <p:cNvSpPr/>
          <p:nvPr userDrawn="1"/>
        </p:nvSpPr>
        <p:spPr>
          <a:xfrm>
            <a:off x="513513" y="843504"/>
            <a:ext cx="686638" cy="686636"/>
          </a:xfrm>
          <a:custGeom>
            <a:avLst/>
            <a:gdLst/>
            <a:ahLst/>
            <a:cxnLst/>
            <a:rect l="l" t="t" r="r" b="b"/>
            <a:pathLst>
              <a:path w="828675" h="828675">
                <a:moveTo>
                  <a:pt x="828121" y="0"/>
                </a:moveTo>
                <a:lnTo>
                  <a:pt x="511712" y="565"/>
                </a:lnTo>
                <a:lnTo>
                  <a:pt x="468206" y="4936"/>
                </a:lnTo>
                <a:lnTo>
                  <a:pt x="426776" y="17574"/>
                </a:lnTo>
                <a:lnTo>
                  <a:pt x="388579" y="37999"/>
                </a:lnTo>
                <a:lnTo>
                  <a:pt x="354774" y="65736"/>
                </a:lnTo>
                <a:lnTo>
                  <a:pt x="65736" y="354774"/>
                </a:lnTo>
                <a:lnTo>
                  <a:pt x="38004" y="388579"/>
                </a:lnTo>
                <a:lnTo>
                  <a:pt x="17577" y="426774"/>
                </a:lnTo>
                <a:lnTo>
                  <a:pt x="4938" y="468201"/>
                </a:lnTo>
                <a:lnTo>
                  <a:pt x="565" y="511701"/>
                </a:lnTo>
                <a:lnTo>
                  <a:pt x="0" y="828110"/>
                </a:lnTo>
                <a:lnTo>
                  <a:pt x="235553" y="828110"/>
                </a:lnTo>
                <a:lnTo>
                  <a:pt x="236087" y="280776"/>
                </a:lnTo>
                <a:lnTo>
                  <a:pt x="239616" y="263356"/>
                </a:lnTo>
                <a:lnTo>
                  <a:pt x="249213" y="249132"/>
                </a:lnTo>
                <a:lnTo>
                  <a:pt x="263438" y="239540"/>
                </a:lnTo>
                <a:lnTo>
                  <a:pt x="280850" y="236013"/>
                </a:lnTo>
                <a:lnTo>
                  <a:pt x="828121" y="235553"/>
                </a:lnTo>
                <a:lnTo>
                  <a:pt x="828121" y="0"/>
                </a:lnTo>
                <a:close/>
              </a:path>
            </a:pathLst>
          </a:custGeom>
          <a:gradFill flip="none" rotWithShape="1">
            <a:gsLst>
              <a:gs pos="0">
                <a:srgbClr val="00824A"/>
              </a:gs>
              <a:gs pos="95413">
                <a:srgbClr val="96FFA1"/>
              </a:gs>
              <a:gs pos="32000">
                <a:srgbClr val="00D05D"/>
              </a:gs>
            </a:gsLst>
            <a:lin ang="8400000" scaled="0"/>
            <a:tileRect/>
          </a:gra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F5860"/>
              </a:solidFill>
              <a:effectLst/>
              <a:uLnTx/>
              <a:uFillTx/>
            </a:endParaRPr>
          </a:p>
        </p:txBody>
      </p:sp>
      <p:sp>
        <p:nvSpPr>
          <p:cNvPr id="4" name="Subtitle 2">
            <a:extLst>
              <a:ext uri="{FF2B5EF4-FFF2-40B4-BE49-F238E27FC236}">
                <a16:creationId xmlns:a16="http://schemas.microsoft.com/office/drawing/2014/main" id="{402CC669-176C-2550-80B0-29B9C7809CB6}"/>
              </a:ext>
            </a:extLst>
          </p:cNvPr>
          <p:cNvSpPr>
            <a:spLocks noGrp="1"/>
          </p:cNvSpPr>
          <p:nvPr>
            <p:ph type="subTitle" idx="1" hasCustomPrompt="1"/>
          </p:nvPr>
        </p:nvSpPr>
        <p:spPr>
          <a:xfrm>
            <a:off x="1206499" y="5409780"/>
            <a:ext cx="9777413" cy="747931"/>
          </a:xfrm>
        </p:spPr>
        <p:txBody>
          <a:bodyPr>
            <a:noAutofit/>
          </a:bodyPr>
          <a:lstStyle>
            <a:lvl1pPr marL="0" indent="0" algn="l">
              <a:buNone/>
              <a:defRPr lang="en-US" sz="2400" b="0" i="0" kern="1200" dirty="0">
                <a:solidFill>
                  <a:srgbClr val="8E71F4"/>
                </a:solidFill>
                <a:latin typeface="+mn-lt"/>
                <a:ea typeface="ES Build" pitchFamily="2" charset="77"/>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96000"/>
              </a:lnSpc>
              <a:spcBef>
                <a:spcPts val="900"/>
              </a:spcBef>
              <a:spcAft>
                <a:spcPts val="300"/>
              </a:spcAft>
              <a:buClrTx/>
              <a:buFont typeface="Arial" panose="020B0604020202020204" pitchFamily="34" charset="0"/>
              <a:buNone/>
              <a:tabLst/>
            </a:pPr>
            <a:r>
              <a:rPr lang="en-US"/>
              <a:t>Attribution</a:t>
            </a:r>
          </a:p>
        </p:txBody>
      </p:sp>
    </p:spTree>
    <p:extLst>
      <p:ext uri="{BB962C8B-B14F-4D97-AF65-F5344CB8AC3E}">
        <p14:creationId xmlns:p14="http://schemas.microsoft.com/office/powerpoint/2010/main" val="1376756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Alterna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6" name="Freeform: Shape 45">
            <a:extLst>
              <a:ext uri="{FF2B5EF4-FFF2-40B4-BE49-F238E27FC236}">
                <a16:creationId xmlns:a16="http://schemas.microsoft.com/office/drawing/2014/main" id="{06951534-1768-2305-3944-BBB010087506}"/>
              </a:ext>
            </a:extLst>
          </p:cNvPr>
          <p:cNvSpPr/>
          <p:nvPr userDrawn="1"/>
        </p:nvSpPr>
        <p:spPr>
          <a:xfrm>
            <a:off x="0" y="2774"/>
            <a:ext cx="12192000" cy="6376946"/>
          </a:xfrm>
          <a:custGeom>
            <a:avLst/>
            <a:gdLst>
              <a:gd name="connsiteX0" fmla="*/ 3413735 w 12192000"/>
              <a:gd name="connsiteY0" fmla="*/ 0 h 6376946"/>
              <a:gd name="connsiteX1" fmla="*/ 3715970 w 12192000"/>
              <a:gd name="connsiteY1" fmla="*/ 10885 h 6376946"/>
              <a:gd name="connsiteX2" fmla="*/ 9043454 w 12192000"/>
              <a:gd name="connsiteY2" fmla="*/ 5327108 h 6376946"/>
              <a:gd name="connsiteX3" fmla="*/ 10008674 w 12192000"/>
              <a:gd name="connsiteY3" fmla="*/ 5327108 h 6376946"/>
              <a:gd name="connsiteX4" fmla="*/ 12192000 w 12192000"/>
              <a:gd name="connsiteY4" fmla="*/ 3143953 h 6376946"/>
              <a:gd name="connsiteX5" fmla="*/ 12192000 w 12192000"/>
              <a:gd name="connsiteY5" fmla="*/ 6376946 h 6376946"/>
              <a:gd name="connsiteX6" fmla="*/ 6409546 w 12192000"/>
              <a:gd name="connsiteY6" fmla="*/ 6376946 h 6376946"/>
              <a:gd name="connsiteX7" fmla="*/ 4004673 w 12192000"/>
              <a:gd name="connsiteY7" fmla="*/ 5376319 h 6376946"/>
              <a:gd name="connsiteX8" fmla="*/ 3694038 w 12192000"/>
              <a:gd name="connsiteY8" fmla="*/ 5066338 h 6376946"/>
              <a:gd name="connsiteX9" fmla="*/ 0 w 12192000"/>
              <a:gd name="connsiteY9" fmla="*/ 679707 h 6376946"/>
              <a:gd name="connsiteX10" fmla="*/ 0 w 12192000"/>
              <a:gd name="connsiteY10" fmla="*/ 1988 h 637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376946">
                <a:moveTo>
                  <a:pt x="3413735" y="0"/>
                </a:moveTo>
                <a:lnTo>
                  <a:pt x="3715970" y="10885"/>
                </a:lnTo>
                <a:lnTo>
                  <a:pt x="9043454" y="5327108"/>
                </a:lnTo>
                <a:cubicBezTo>
                  <a:pt x="9305208" y="5605972"/>
                  <a:pt x="9746920" y="5605972"/>
                  <a:pt x="10008674" y="5327108"/>
                </a:cubicBezTo>
                <a:lnTo>
                  <a:pt x="12192000" y="3143953"/>
                </a:lnTo>
                <a:lnTo>
                  <a:pt x="12192000" y="6376946"/>
                </a:lnTo>
                <a:lnTo>
                  <a:pt x="6409546" y="6376946"/>
                </a:lnTo>
                <a:cubicBezTo>
                  <a:pt x="5509763" y="6376946"/>
                  <a:pt x="4642700" y="6016064"/>
                  <a:pt x="4004673" y="5376319"/>
                </a:cubicBezTo>
                <a:lnTo>
                  <a:pt x="3694038" y="5066338"/>
                </a:lnTo>
                <a:lnTo>
                  <a:pt x="0" y="679707"/>
                </a:lnTo>
                <a:lnTo>
                  <a:pt x="0" y="1988"/>
                </a:lnTo>
                <a:close/>
              </a:path>
            </a:pathLst>
          </a:custGeom>
          <a:gradFill flip="none" rotWithShape="1">
            <a:gsLst>
              <a:gs pos="56000">
                <a:srgbClr val="00D05D">
                  <a:lumMod val="60000"/>
                  <a:lumOff val="40000"/>
                  <a:alpha val="9000"/>
                </a:srgbClr>
              </a:gs>
              <a:gs pos="100000">
                <a:srgbClr val="00D05D">
                  <a:lumMod val="60000"/>
                  <a:lumOff val="40000"/>
                  <a:alpha val="41000"/>
                </a:srgbClr>
              </a:gs>
            </a:gsLst>
            <a:lin ang="2400000" scaled="0"/>
            <a:tileRect/>
          </a:gradFill>
          <a:ln>
            <a:noFill/>
          </a:ln>
        </p:spPr>
        <p:txBody>
          <a:bodyPr vert="horz" wrap="square" lIns="91440" tIns="45720" rIns="91440" bIns="45720" numCol="1" anchor="t" anchorCtr="0" compatLnSpc="1">
            <a:prstTxWarp prst="textNoShape">
              <a:avLst/>
            </a:prstTxWarp>
            <a:noAutofit/>
          </a:bodyPr>
          <a:lstStyle/>
          <a:p>
            <a:pPr marR="0" lvl="0" indent="0" fontAlgn="auto">
              <a:lnSpc>
                <a:spcPct val="100000"/>
              </a:lnSpc>
              <a:spcBef>
                <a:spcPts val="0"/>
              </a:spcBef>
              <a:spcAft>
                <a:spcPts val="0"/>
              </a:spcAft>
              <a:buClrTx/>
              <a:buSzTx/>
              <a:buFontTx/>
              <a:buNone/>
              <a:tabLst/>
            </a:pPr>
            <a:endParaRPr kumimoji="0" lang="en-US" b="0" i="0" u="none" strike="noStrike" kern="0" cap="none" spc="0" normalizeH="0" baseline="0">
              <a:ln>
                <a:noFill/>
              </a:ln>
              <a:solidFill>
                <a:srgbClr val="4F5860"/>
              </a:solidFill>
              <a:effectLst/>
              <a:uLnTx/>
              <a:uFillTx/>
            </a:endParaRPr>
          </a:p>
        </p:txBody>
      </p:sp>
      <p:sp>
        <p:nvSpPr>
          <p:cNvPr id="29" name="Text Placeholder 16">
            <a:extLst>
              <a:ext uri="{FF2B5EF4-FFF2-40B4-BE49-F238E27FC236}">
                <a16:creationId xmlns:a16="http://schemas.microsoft.com/office/drawing/2014/main" id="{EAC99465-3B98-DDF5-D9D9-3CF8E6DB5A7F}"/>
              </a:ext>
            </a:extLst>
          </p:cNvPr>
          <p:cNvSpPr>
            <a:spLocks noGrp="1"/>
          </p:cNvSpPr>
          <p:nvPr>
            <p:ph type="body" sz="quarter" idx="14" hasCustomPrompt="1"/>
          </p:nvPr>
        </p:nvSpPr>
        <p:spPr>
          <a:xfrm>
            <a:off x="1766494" y="4972957"/>
            <a:ext cx="2140840" cy="939289"/>
          </a:xfrm>
        </p:spPr>
        <p:txBody>
          <a:bodyPr>
            <a:noAutofit/>
          </a:bodyPr>
          <a:lstStyle>
            <a:lvl1pPr marL="0" indent="0">
              <a:lnSpc>
                <a:spcPct val="80000"/>
              </a:lnSpc>
              <a:buNone/>
              <a:defRPr sz="2400">
                <a:solidFill>
                  <a:schemeClr val="accent1"/>
                </a:solidFill>
                <a:latin typeface="+mj-lt"/>
              </a:defRPr>
            </a:lvl1pPr>
            <a:lvl2pPr marL="0" indent="0">
              <a:lnSpc>
                <a:spcPct val="80000"/>
              </a:lnSpc>
              <a:buNone/>
              <a:defRPr sz="1600" b="0">
                <a:solidFill>
                  <a:schemeClr val="accent1"/>
                </a:solidFill>
              </a:defRPr>
            </a:lvl2pPr>
          </a:lstStyle>
          <a:p>
            <a:pPr lvl="0"/>
            <a:r>
              <a:rPr lang="en-US"/>
              <a:t>Speaker</a:t>
            </a:r>
            <a:br>
              <a:rPr lang="en-US"/>
            </a:br>
            <a:r>
              <a:rPr lang="en-US"/>
              <a:t>name</a:t>
            </a:r>
          </a:p>
          <a:p>
            <a:pPr lvl="1"/>
            <a:r>
              <a:rPr lang="en-US"/>
              <a:t>Title</a:t>
            </a:r>
          </a:p>
        </p:txBody>
      </p:sp>
      <p:sp>
        <p:nvSpPr>
          <p:cNvPr id="30" name="TextBox 29">
            <a:extLst>
              <a:ext uri="{FF2B5EF4-FFF2-40B4-BE49-F238E27FC236}">
                <a16:creationId xmlns:a16="http://schemas.microsoft.com/office/drawing/2014/main" id="{24F7A5B0-E8E8-DEA8-198F-09DE3F82BE11}"/>
              </a:ext>
            </a:extLst>
          </p:cNvPr>
          <p:cNvSpPr txBox="1"/>
          <p:nvPr userDrawn="1"/>
        </p:nvSpPr>
        <p:spPr>
          <a:xfrm>
            <a:off x="765932" y="6562482"/>
            <a:ext cx="5211836" cy="107722"/>
          </a:xfrm>
          <a:prstGeom prst="rect">
            <a:avLst/>
          </a:prstGeom>
          <a:noFill/>
        </p:spPr>
        <p:txBody>
          <a:bodyPr wrap="square" lIns="0" tIns="0" rIns="0" bIns="0">
            <a:spAutoFit/>
          </a:bodyPr>
          <a:lstStyle/>
          <a:p>
            <a:r>
              <a:rPr lang="en-US" sz="700">
                <a:solidFill>
                  <a:schemeClr val="accent1"/>
                </a:solidFill>
              </a:rPr>
              <a:t>© 2024 Veeam Software. Confidential information. All rights reserved. All trademarks are the property of their respective owners. </a:t>
            </a:r>
          </a:p>
        </p:txBody>
      </p:sp>
      <p:sp>
        <p:nvSpPr>
          <p:cNvPr id="31" name="Picture Placeholder 22">
            <a:extLst>
              <a:ext uri="{FF2B5EF4-FFF2-40B4-BE49-F238E27FC236}">
                <a16:creationId xmlns:a16="http://schemas.microsoft.com/office/drawing/2014/main" id="{AC4C46DD-E399-4A5A-AD91-2088AA306B6F}"/>
              </a:ext>
            </a:extLst>
          </p:cNvPr>
          <p:cNvSpPr>
            <a:spLocks noGrp="1"/>
          </p:cNvSpPr>
          <p:nvPr>
            <p:ph type="pic" sz="quarter" idx="15"/>
          </p:nvPr>
        </p:nvSpPr>
        <p:spPr>
          <a:xfrm>
            <a:off x="782097" y="4861331"/>
            <a:ext cx="800100" cy="800100"/>
          </a:xfrm>
          <a:prstGeom prst="ellipse">
            <a:avLst/>
          </a:prstGeom>
          <a:solidFill>
            <a:schemeClr val="accent2">
              <a:lumMod val="50000"/>
            </a:schemeClr>
          </a:solidFill>
        </p:spPr>
        <p:txBody>
          <a:bodyPr anchor="ctr"/>
          <a:lstStyle>
            <a:lvl1pPr marL="0" indent="0" algn="ctr">
              <a:buNone/>
              <a:defRPr sz="800"/>
            </a:lvl1pPr>
          </a:lstStyle>
          <a:p>
            <a:r>
              <a:rPr lang="en-US"/>
              <a:t>Click icon to add picture</a:t>
            </a:r>
          </a:p>
        </p:txBody>
      </p:sp>
      <p:sp>
        <p:nvSpPr>
          <p:cNvPr id="32" name="Text Placeholder 24">
            <a:extLst>
              <a:ext uri="{FF2B5EF4-FFF2-40B4-BE49-F238E27FC236}">
                <a16:creationId xmlns:a16="http://schemas.microsoft.com/office/drawing/2014/main" id="{14E0BAFF-494F-1232-840B-B3A34B643C3D}"/>
              </a:ext>
            </a:extLst>
          </p:cNvPr>
          <p:cNvSpPr>
            <a:spLocks noGrp="1"/>
          </p:cNvSpPr>
          <p:nvPr>
            <p:ph type="body" sz="quarter" idx="16" hasCustomPrompt="1"/>
          </p:nvPr>
        </p:nvSpPr>
        <p:spPr>
          <a:xfrm>
            <a:off x="1770655" y="3917439"/>
            <a:ext cx="2124285" cy="965664"/>
          </a:xfrm>
        </p:spPr>
        <p:txBody>
          <a:bodyPr>
            <a:noAutofit/>
          </a:bodyPr>
          <a:lstStyle>
            <a:lvl1pPr marL="0" indent="0">
              <a:lnSpc>
                <a:spcPct val="80000"/>
              </a:lnSpc>
              <a:buNone/>
              <a:defRPr sz="2400">
                <a:solidFill>
                  <a:schemeClr val="accent1"/>
                </a:solidFill>
                <a:latin typeface="+mj-lt"/>
              </a:defRPr>
            </a:lvl1pPr>
            <a:lvl2pPr marL="0" indent="0">
              <a:lnSpc>
                <a:spcPct val="80000"/>
              </a:lnSpc>
              <a:buNone/>
              <a:defRPr sz="1600" b="0">
                <a:solidFill>
                  <a:schemeClr val="accent1"/>
                </a:solidFill>
              </a:defRPr>
            </a:lvl2pPr>
          </a:lstStyle>
          <a:p>
            <a:pPr lvl="0"/>
            <a:r>
              <a:rPr lang="en-US"/>
              <a:t>Speaker</a:t>
            </a:r>
            <a:br>
              <a:rPr lang="en-US"/>
            </a:br>
            <a:r>
              <a:rPr lang="en-US"/>
              <a:t>name</a:t>
            </a:r>
          </a:p>
          <a:p>
            <a:pPr lvl="1"/>
            <a:r>
              <a:rPr lang="en-US"/>
              <a:t>Title</a:t>
            </a:r>
          </a:p>
        </p:txBody>
      </p:sp>
      <p:sp>
        <p:nvSpPr>
          <p:cNvPr id="33" name="Picture Placeholder 26">
            <a:extLst>
              <a:ext uri="{FF2B5EF4-FFF2-40B4-BE49-F238E27FC236}">
                <a16:creationId xmlns:a16="http://schemas.microsoft.com/office/drawing/2014/main" id="{E463451C-6D2C-0E9F-3BBC-9411F1995BFB}"/>
              </a:ext>
            </a:extLst>
          </p:cNvPr>
          <p:cNvSpPr>
            <a:spLocks noGrp="1"/>
          </p:cNvSpPr>
          <p:nvPr>
            <p:ph type="pic" sz="quarter" idx="17"/>
          </p:nvPr>
        </p:nvSpPr>
        <p:spPr>
          <a:xfrm>
            <a:off x="741425" y="3830126"/>
            <a:ext cx="800100" cy="800100"/>
          </a:xfrm>
          <a:prstGeom prst="ellipse">
            <a:avLst/>
          </a:prstGeom>
          <a:solidFill>
            <a:schemeClr val="accent2">
              <a:lumMod val="50000"/>
            </a:schemeClr>
          </a:solidFill>
        </p:spPr>
        <p:txBody>
          <a:bodyPr anchor="ctr"/>
          <a:lstStyle>
            <a:lvl1pPr marL="0" indent="0" algn="ctr">
              <a:buNone/>
              <a:defRPr sz="800"/>
            </a:lvl1pPr>
          </a:lstStyle>
          <a:p>
            <a:r>
              <a:rPr lang="en-US"/>
              <a:t>Click icon to add picture</a:t>
            </a:r>
          </a:p>
        </p:txBody>
      </p:sp>
      <p:grpSp>
        <p:nvGrpSpPr>
          <p:cNvPr id="34" name="Group 33">
            <a:extLst>
              <a:ext uri="{FF2B5EF4-FFF2-40B4-BE49-F238E27FC236}">
                <a16:creationId xmlns:a16="http://schemas.microsoft.com/office/drawing/2014/main" id="{BC6CC62D-4433-B209-F6FD-85E8D95DB9D3}"/>
              </a:ext>
            </a:extLst>
          </p:cNvPr>
          <p:cNvGrpSpPr/>
          <p:nvPr userDrawn="1"/>
        </p:nvGrpSpPr>
        <p:grpSpPr>
          <a:xfrm flipH="1">
            <a:off x="4067175" y="1025525"/>
            <a:ext cx="7464726" cy="4793351"/>
            <a:chOff x="4308184" y="1263225"/>
            <a:chExt cx="6842099" cy="4393541"/>
          </a:xfrm>
          <a:solidFill>
            <a:schemeClr val="bg1"/>
          </a:solidFill>
        </p:grpSpPr>
        <p:pic>
          <p:nvPicPr>
            <p:cNvPr id="35" name="Graphic 34">
              <a:extLst>
                <a:ext uri="{FF2B5EF4-FFF2-40B4-BE49-F238E27FC236}">
                  <a16:creationId xmlns:a16="http://schemas.microsoft.com/office/drawing/2014/main" id="{8718E26C-ACB4-8BAB-D365-A7BAB3A6CE5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08184" y="1263225"/>
              <a:ext cx="6005985" cy="4393541"/>
            </a:xfrm>
            <a:prstGeom prst="rect">
              <a:avLst/>
            </a:prstGeom>
          </p:spPr>
        </p:pic>
        <p:pic>
          <p:nvPicPr>
            <p:cNvPr id="36" name="Graphic 35">
              <a:extLst>
                <a:ext uri="{FF2B5EF4-FFF2-40B4-BE49-F238E27FC236}">
                  <a16:creationId xmlns:a16="http://schemas.microsoft.com/office/drawing/2014/main" id="{7EA4986E-0877-5E34-8177-4EEFEF16302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144298" y="1263225"/>
              <a:ext cx="6005985" cy="4393541"/>
            </a:xfrm>
            <a:prstGeom prst="rect">
              <a:avLst/>
            </a:prstGeom>
          </p:spPr>
        </p:pic>
      </p:grpSp>
      <p:sp>
        <p:nvSpPr>
          <p:cNvPr id="37" name="Title 1">
            <a:extLst>
              <a:ext uri="{FF2B5EF4-FFF2-40B4-BE49-F238E27FC236}">
                <a16:creationId xmlns:a16="http://schemas.microsoft.com/office/drawing/2014/main" id="{08F0DC7C-00AA-1162-5EC7-EBB50D8D1DB7}"/>
              </a:ext>
            </a:extLst>
          </p:cNvPr>
          <p:cNvSpPr>
            <a:spLocks noGrp="1"/>
          </p:cNvSpPr>
          <p:nvPr>
            <p:ph type="ctrTitle"/>
          </p:nvPr>
        </p:nvSpPr>
        <p:spPr>
          <a:xfrm>
            <a:off x="4718051" y="2058644"/>
            <a:ext cx="5990740" cy="2581299"/>
          </a:xfrm>
        </p:spPr>
        <p:txBody>
          <a:bodyPr anchor="ctr">
            <a:normAutofit/>
          </a:bodyPr>
          <a:lstStyle>
            <a:lvl1pPr algn="l">
              <a:lnSpc>
                <a:spcPct val="85000"/>
              </a:lnSpc>
              <a:defRPr lang="en-US" sz="7200" b="0" i="0" kern="1200" spc="-150" baseline="0" dirty="0">
                <a:solidFill>
                  <a:schemeClr val="tx1"/>
                </a:solidFill>
                <a:latin typeface="+mj-lt"/>
                <a:ea typeface="ES Build Full Bauhaus Medium" pitchFamily="2" charset="77"/>
                <a:cs typeface="+mj-cs"/>
              </a:defRPr>
            </a:lvl1pPr>
          </a:lstStyle>
          <a:p>
            <a:r>
              <a:rPr lang="en-US"/>
              <a:t>Click to edit Master title style</a:t>
            </a:r>
          </a:p>
        </p:txBody>
      </p:sp>
      <p:sp>
        <p:nvSpPr>
          <p:cNvPr id="38" name="Subtitle 2">
            <a:extLst>
              <a:ext uri="{FF2B5EF4-FFF2-40B4-BE49-F238E27FC236}">
                <a16:creationId xmlns:a16="http://schemas.microsoft.com/office/drawing/2014/main" id="{32EA706C-177A-D645-19B1-434E2BB3B806}"/>
              </a:ext>
            </a:extLst>
          </p:cNvPr>
          <p:cNvSpPr>
            <a:spLocks noGrp="1"/>
          </p:cNvSpPr>
          <p:nvPr>
            <p:ph type="subTitle" idx="1"/>
          </p:nvPr>
        </p:nvSpPr>
        <p:spPr>
          <a:xfrm>
            <a:off x="4718051" y="4730182"/>
            <a:ext cx="6005985" cy="487705"/>
          </a:xfrm>
        </p:spPr>
        <p:txBody>
          <a:bodyPr/>
          <a:lstStyle>
            <a:lvl1pPr marL="0" indent="0" algn="l">
              <a:buNone/>
              <a:defRPr sz="2400">
                <a:solidFill>
                  <a:schemeClr val="accent3">
                    <a:lumMod val="60000"/>
                    <a:lumOff val="40000"/>
                  </a:schemeClr>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9" name="Text Placeholder 12">
            <a:extLst>
              <a:ext uri="{FF2B5EF4-FFF2-40B4-BE49-F238E27FC236}">
                <a16:creationId xmlns:a16="http://schemas.microsoft.com/office/drawing/2014/main" id="{E43F9FFC-267E-652E-5764-97A765A3BCC9}"/>
              </a:ext>
            </a:extLst>
          </p:cNvPr>
          <p:cNvSpPr>
            <a:spLocks noGrp="1"/>
          </p:cNvSpPr>
          <p:nvPr>
            <p:ph type="body" sz="quarter" idx="13" hasCustomPrompt="1"/>
          </p:nvPr>
        </p:nvSpPr>
        <p:spPr>
          <a:xfrm>
            <a:off x="793751" y="3033711"/>
            <a:ext cx="2560637" cy="274955"/>
          </a:xfrm>
        </p:spPr>
        <p:txBody>
          <a:bodyPr>
            <a:noAutofit/>
          </a:bodyPr>
          <a:lstStyle>
            <a:lvl1pPr marL="0" indent="0">
              <a:buNone/>
              <a:defRPr sz="1600" b="0" spc="0" baseline="0">
                <a:solidFill>
                  <a:schemeClr val="accent1"/>
                </a:solidFill>
                <a:latin typeface="ES Build Medium" pitchFamily="2" charset="0"/>
                <a:ea typeface="ES Build Medium" pitchFamily="2" charset="0"/>
              </a:defRPr>
            </a:lvl1pPr>
            <a:lvl2pPr>
              <a:defRPr b="0">
                <a:solidFill>
                  <a:schemeClr val="accent1"/>
                </a:solidFill>
              </a:defRPr>
            </a:lvl2pPr>
          </a:lstStyle>
          <a:p>
            <a:pPr lvl="0"/>
            <a:r>
              <a:rPr lang="en-US"/>
              <a:t>Date</a:t>
            </a:r>
          </a:p>
        </p:txBody>
      </p:sp>
      <p:grpSp>
        <p:nvGrpSpPr>
          <p:cNvPr id="11" name="Group 10">
            <a:extLst>
              <a:ext uri="{FF2B5EF4-FFF2-40B4-BE49-F238E27FC236}">
                <a16:creationId xmlns:a16="http://schemas.microsoft.com/office/drawing/2014/main" id="{19CD186B-801D-AA27-3ED6-4DF90968D7DB}"/>
              </a:ext>
            </a:extLst>
          </p:cNvPr>
          <p:cNvGrpSpPr/>
          <p:nvPr userDrawn="1"/>
        </p:nvGrpSpPr>
        <p:grpSpPr>
          <a:xfrm>
            <a:off x="782097" y="694483"/>
            <a:ext cx="1346160" cy="412987"/>
            <a:chOff x="2406776" y="-1036657"/>
            <a:chExt cx="1346160" cy="412987"/>
          </a:xfrm>
        </p:grpSpPr>
        <p:sp>
          <p:nvSpPr>
            <p:cNvPr id="12" name="Freeform 11">
              <a:extLst>
                <a:ext uri="{FF2B5EF4-FFF2-40B4-BE49-F238E27FC236}">
                  <a16:creationId xmlns:a16="http://schemas.microsoft.com/office/drawing/2014/main" id="{F0977220-16C4-9275-5E4A-BB4EEABE1D81}"/>
                </a:ext>
              </a:extLst>
            </p:cNvPr>
            <p:cNvSpPr/>
            <p:nvPr/>
          </p:nvSpPr>
          <p:spPr>
            <a:xfrm>
              <a:off x="2406776" y="-1036657"/>
              <a:ext cx="1346160" cy="412672"/>
            </a:xfrm>
            <a:custGeom>
              <a:avLst/>
              <a:gdLst>
                <a:gd name="connsiteX0" fmla="*/ 113980 w 1346160"/>
                <a:gd name="connsiteY0" fmla="*/ 0 h 412672"/>
                <a:gd name="connsiteX1" fmla="*/ 81943 w 1346160"/>
                <a:gd name="connsiteY1" fmla="*/ 13537 h 412672"/>
                <a:gd name="connsiteX2" fmla="*/ 13268 w 1346160"/>
                <a:gd name="connsiteY2" fmla="*/ 83602 h 412672"/>
                <a:gd name="connsiteX3" fmla="*/ 0 w 1346160"/>
                <a:gd name="connsiteY3" fmla="*/ 116287 h 412672"/>
                <a:gd name="connsiteX4" fmla="*/ 0 w 1346160"/>
                <a:gd name="connsiteY4" fmla="*/ 412672 h 412672"/>
                <a:gd name="connsiteX5" fmla="*/ 1232900 w 1346160"/>
                <a:gd name="connsiteY5" fmla="*/ 411939 h 412672"/>
                <a:gd name="connsiteX6" fmla="*/ 1264936 w 1346160"/>
                <a:gd name="connsiteY6" fmla="*/ 398402 h 412672"/>
                <a:gd name="connsiteX7" fmla="*/ 1332848 w 1346160"/>
                <a:gd name="connsiteY7" fmla="*/ 329116 h 412672"/>
                <a:gd name="connsiteX8" fmla="*/ 1346116 w 1346160"/>
                <a:gd name="connsiteY8" fmla="*/ 296431 h 412672"/>
                <a:gd name="connsiteX9" fmla="*/ 1346161 w 1346160"/>
                <a:gd name="connsiteY9" fmla="*/ 0 h 412672"/>
                <a:gd name="connsiteX10" fmla="*/ 113980 w 1346160"/>
                <a:gd name="connsiteY10" fmla="*/ 0 h 41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160" h="412672">
                  <a:moveTo>
                    <a:pt x="113980" y="0"/>
                  </a:moveTo>
                  <a:cubicBezTo>
                    <a:pt x="101969" y="0"/>
                    <a:pt x="90430" y="4879"/>
                    <a:pt x="81943" y="13537"/>
                  </a:cubicBezTo>
                  <a:lnTo>
                    <a:pt x="13268" y="83602"/>
                  </a:lnTo>
                  <a:cubicBezTo>
                    <a:pt x="4782" y="92260"/>
                    <a:pt x="0" y="104033"/>
                    <a:pt x="0" y="116287"/>
                  </a:cubicBezTo>
                  <a:lnTo>
                    <a:pt x="0" y="412672"/>
                  </a:lnTo>
                  <a:lnTo>
                    <a:pt x="1232900" y="411939"/>
                  </a:lnTo>
                  <a:cubicBezTo>
                    <a:pt x="1244910" y="411939"/>
                    <a:pt x="1256450" y="407060"/>
                    <a:pt x="1264936" y="398402"/>
                  </a:cubicBezTo>
                  <a:lnTo>
                    <a:pt x="1332848" y="329116"/>
                  </a:lnTo>
                  <a:cubicBezTo>
                    <a:pt x="1341334" y="320458"/>
                    <a:pt x="1346116" y="308685"/>
                    <a:pt x="1346116" y="296431"/>
                  </a:cubicBezTo>
                  <a:lnTo>
                    <a:pt x="1346161" y="0"/>
                  </a:lnTo>
                  <a:lnTo>
                    <a:pt x="113980" y="0"/>
                  </a:lnTo>
                  <a:close/>
                </a:path>
              </a:pathLst>
            </a:custGeom>
            <a:solidFill>
              <a:srgbClr val="00D15F"/>
            </a:solidFill>
            <a:ln w="2231" cap="flat">
              <a:noFill/>
              <a:prstDash val="solid"/>
              <a:miter/>
            </a:ln>
          </p:spPr>
          <p:txBody>
            <a:bodyPr rtlCol="0" anchor="ctr"/>
            <a:lstStyle/>
            <a:p>
              <a:endParaRPr lang="en-RU"/>
            </a:p>
          </p:txBody>
        </p:sp>
        <p:sp>
          <p:nvSpPr>
            <p:cNvPr id="13" name="Freeform 12">
              <a:extLst>
                <a:ext uri="{FF2B5EF4-FFF2-40B4-BE49-F238E27FC236}">
                  <a16:creationId xmlns:a16="http://schemas.microsoft.com/office/drawing/2014/main" id="{790BCDA0-86A1-4B47-E91F-B2B4665F8115}"/>
                </a:ext>
              </a:extLst>
            </p:cNvPr>
            <p:cNvSpPr/>
            <p:nvPr/>
          </p:nvSpPr>
          <p:spPr>
            <a:xfrm>
              <a:off x="2407135" y="-1036657"/>
              <a:ext cx="1009744" cy="412987"/>
            </a:xfrm>
            <a:custGeom>
              <a:avLst/>
              <a:gdLst>
                <a:gd name="connsiteX0" fmla="*/ 0 w 1009744"/>
                <a:gd name="connsiteY0" fmla="*/ 156393 h 412987"/>
                <a:gd name="connsiteX1" fmla="*/ 0 w 1009744"/>
                <a:gd name="connsiteY1" fmla="*/ 412695 h 412987"/>
                <a:gd name="connsiteX2" fmla="*/ 450756 w 1009744"/>
                <a:gd name="connsiteY2" fmla="*/ 412695 h 412987"/>
                <a:gd name="connsiteX3" fmla="*/ 541634 w 1009744"/>
                <a:gd name="connsiteY3" fmla="*/ 406121 h 412987"/>
                <a:gd name="connsiteX4" fmla="*/ 712570 w 1009744"/>
                <a:gd name="connsiteY4" fmla="*/ 302593 h 412987"/>
                <a:gd name="connsiteX5" fmla="*/ 1009744 w 1009744"/>
                <a:gd name="connsiteY5" fmla="*/ 0 h 412987"/>
                <a:gd name="connsiteX6" fmla="*/ 559931 w 1009744"/>
                <a:gd name="connsiteY6" fmla="*/ 46 h 412987"/>
                <a:gd name="connsiteX7" fmla="*/ 250073 w 1009744"/>
                <a:gd name="connsiteY7" fmla="*/ 314892 h 412987"/>
                <a:gd name="connsiteX8" fmla="*/ 205846 w 1009744"/>
                <a:gd name="connsiteY8" fmla="*/ 337545 h 412987"/>
                <a:gd name="connsiteX9" fmla="*/ 165997 w 1009744"/>
                <a:gd name="connsiteY9" fmla="*/ 323963 h 412987"/>
                <a:gd name="connsiteX10" fmla="*/ 0 w 1009744"/>
                <a:gd name="connsiteY10" fmla="*/ 156393 h 412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9744" h="412987">
                  <a:moveTo>
                    <a:pt x="0" y="156393"/>
                  </a:moveTo>
                  <a:lnTo>
                    <a:pt x="0" y="412695"/>
                  </a:lnTo>
                  <a:lnTo>
                    <a:pt x="450756" y="412695"/>
                  </a:lnTo>
                  <a:cubicBezTo>
                    <a:pt x="450756" y="412695"/>
                    <a:pt x="501875" y="415100"/>
                    <a:pt x="541634" y="406121"/>
                  </a:cubicBezTo>
                  <a:cubicBezTo>
                    <a:pt x="614687" y="389630"/>
                    <a:pt x="658196" y="358067"/>
                    <a:pt x="712570" y="302593"/>
                  </a:cubicBezTo>
                  <a:cubicBezTo>
                    <a:pt x="804302" y="208959"/>
                    <a:pt x="1009744" y="0"/>
                    <a:pt x="1009744" y="0"/>
                  </a:cubicBezTo>
                  <a:lnTo>
                    <a:pt x="559931" y="46"/>
                  </a:lnTo>
                  <a:lnTo>
                    <a:pt x="250073" y="314892"/>
                  </a:lnTo>
                  <a:cubicBezTo>
                    <a:pt x="250073" y="314892"/>
                    <a:pt x="231439" y="337820"/>
                    <a:pt x="205846" y="337545"/>
                  </a:cubicBezTo>
                  <a:cubicBezTo>
                    <a:pt x="178053" y="337224"/>
                    <a:pt x="165997" y="323963"/>
                    <a:pt x="165997" y="323963"/>
                  </a:cubicBezTo>
                  <a:lnTo>
                    <a:pt x="0" y="156393"/>
                  </a:lnTo>
                  <a:close/>
                </a:path>
              </a:pathLst>
            </a:custGeom>
            <a:solidFill>
              <a:srgbClr val="FFFFFF">
                <a:alpha val="25000"/>
              </a:srgbClr>
            </a:solidFill>
            <a:ln w="2231" cap="flat">
              <a:noFill/>
              <a:prstDash val="solid"/>
              <a:miter/>
            </a:ln>
          </p:spPr>
          <p:txBody>
            <a:bodyPr rtlCol="0" anchor="ctr"/>
            <a:lstStyle/>
            <a:p>
              <a:endParaRPr lang="en-RU"/>
            </a:p>
          </p:txBody>
        </p:sp>
        <p:grpSp>
          <p:nvGrpSpPr>
            <p:cNvPr id="14" name="Graphic 1">
              <a:extLst>
                <a:ext uri="{FF2B5EF4-FFF2-40B4-BE49-F238E27FC236}">
                  <a16:creationId xmlns:a16="http://schemas.microsoft.com/office/drawing/2014/main" id="{F01F1D81-4582-1C5A-2197-37F6498E2EC6}"/>
                </a:ext>
              </a:extLst>
            </p:cNvPr>
            <p:cNvGrpSpPr/>
            <p:nvPr/>
          </p:nvGrpSpPr>
          <p:grpSpPr>
            <a:xfrm>
              <a:off x="2502616" y="-933884"/>
              <a:ext cx="1130526" cy="206622"/>
              <a:chOff x="2502616" y="-933884"/>
              <a:chExt cx="1130526" cy="206622"/>
            </a:xfrm>
            <a:solidFill>
              <a:srgbClr val="FFFFFF"/>
            </a:solidFill>
          </p:grpSpPr>
          <p:sp>
            <p:nvSpPr>
              <p:cNvPr id="15" name="Freeform 14">
                <a:extLst>
                  <a:ext uri="{FF2B5EF4-FFF2-40B4-BE49-F238E27FC236}">
                    <a16:creationId xmlns:a16="http://schemas.microsoft.com/office/drawing/2014/main" id="{5138B4DD-4F04-65EE-EC7E-A0BA75847B8D}"/>
                  </a:ext>
                </a:extLst>
              </p:cNvPr>
              <p:cNvSpPr/>
              <p:nvPr/>
            </p:nvSpPr>
            <p:spPr>
              <a:xfrm>
                <a:off x="2502616" y="-929578"/>
                <a:ext cx="221224" cy="198147"/>
              </a:xfrm>
              <a:custGeom>
                <a:avLst/>
                <a:gdLst>
                  <a:gd name="connsiteX0" fmla="*/ 93011 w 221224"/>
                  <a:gd name="connsiteY0" fmla="*/ 198148 h 198147"/>
                  <a:gd name="connsiteX1" fmla="*/ 0 w 221224"/>
                  <a:gd name="connsiteY1" fmla="*/ 0 h 198147"/>
                  <a:gd name="connsiteX2" fmla="*/ 41915 w 221224"/>
                  <a:gd name="connsiteY2" fmla="*/ 0 h 198147"/>
                  <a:gd name="connsiteX3" fmla="*/ 110006 w 221224"/>
                  <a:gd name="connsiteY3" fmla="*/ 149017 h 198147"/>
                  <a:gd name="connsiteX4" fmla="*/ 110814 w 221224"/>
                  <a:gd name="connsiteY4" fmla="*/ 149017 h 198147"/>
                  <a:gd name="connsiteX5" fmla="*/ 178906 w 221224"/>
                  <a:gd name="connsiteY5" fmla="*/ 0 h 198147"/>
                  <a:gd name="connsiteX6" fmla="*/ 221225 w 221224"/>
                  <a:gd name="connsiteY6" fmla="*/ 0 h 198147"/>
                  <a:gd name="connsiteX7" fmla="*/ 128213 w 221224"/>
                  <a:gd name="connsiteY7" fmla="*/ 198148 h 198147"/>
                  <a:gd name="connsiteX8" fmla="*/ 92966 w 221224"/>
                  <a:gd name="connsiteY8" fmla="*/ 198148 h 19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224" h="198147">
                    <a:moveTo>
                      <a:pt x="93011" y="198148"/>
                    </a:moveTo>
                    <a:lnTo>
                      <a:pt x="0" y="0"/>
                    </a:lnTo>
                    <a:lnTo>
                      <a:pt x="41915" y="0"/>
                    </a:lnTo>
                    <a:cubicBezTo>
                      <a:pt x="41915" y="0"/>
                      <a:pt x="108390" y="141848"/>
                      <a:pt x="110006" y="149017"/>
                    </a:cubicBezTo>
                    <a:lnTo>
                      <a:pt x="110814" y="149017"/>
                    </a:lnTo>
                    <a:cubicBezTo>
                      <a:pt x="112476" y="141825"/>
                      <a:pt x="178906" y="0"/>
                      <a:pt x="178906" y="0"/>
                    </a:cubicBezTo>
                    <a:lnTo>
                      <a:pt x="221225" y="0"/>
                    </a:lnTo>
                    <a:lnTo>
                      <a:pt x="128213" y="198148"/>
                    </a:lnTo>
                    <a:lnTo>
                      <a:pt x="92966" y="198148"/>
                    </a:lnTo>
                    <a:close/>
                  </a:path>
                </a:pathLst>
              </a:custGeom>
              <a:solidFill>
                <a:srgbClr val="FFFFFF"/>
              </a:solidFill>
              <a:ln w="2231" cap="flat">
                <a:noFill/>
                <a:prstDash val="solid"/>
                <a:miter/>
              </a:ln>
            </p:spPr>
            <p:txBody>
              <a:bodyPr rtlCol="0" anchor="ctr"/>
              <a:lstStyle/>
              <a:p>
                <a:endParaRPr lang="en-RU"/>
              </a:p>
            </p:txBody>
          </p:sp>
          <p:sp>
            <p:nvSpPr>
              <p:cNvPr id="16" name="Freeform 15">
                <a:extLst>
                  <a:ext uri="{FF2B5EF4-FFF2-40B4-BE49-F238E27FC236}">
                    <a16:creationId xmlns:a16="http://schemas.microsoft.com/office/drawing/2014/main" id="{714F40F0-B8C9-2A39-A4C7-1FFE15D0EF6A}"/>
                  </a:ext>
                </a:extLst>
              </p:cNvPr>
              <p:cNvSpPr/>
              <p:nvPr/>
            </p:nvSpPr>
            <p:spPr>
              <a:xfrm>
                <a:off x="2713962" y="-933884"/>
                <a:ext cx="190894" cy="206599"/>
              </a:xfrm>
              <a:custGeom>
                <a:avLst/>
                <a:gdLst>
                  <a:gd name="connsiteX0" fmla="*/ 190041 w 190894"/>
                  <a:gd name="connsiteY0" fmla="*/ 118577 h 206599"/>
                  <a:gd name="connsiteX1" fmla="*/ 39423 w 190894"/>
                  <a:gd name="connsiteY1" fmla="*/ 118577 h 206599"/>
                  <a:gd name="connsiteX2" fmla="*/ 97950 w 190894"/>
                  <a:gd name="connsiteY2" fmla="*/ 171051 h 206599"/>
                  <a:gd name="connsiteX3" fmla="*/ 146914 w 190894"/>
                  <a:gd name="connsiteY3" fmla="*/ 143108 h 206599"/>
                  <a:gd name="connsiteX4" fmla="*/ 185910 w 190894"/>
                  <a:gd name="connsiteY4" fmla="*/ 143108 h 206599"/>
                  <a:gd name="connsiteX5" fmla="*/ 97928 w 190894"/>
                  <a:gd name="connsiteY5" fmla="*/ 206599 h 206599"/>
                  <a:gd name="connsiteX6" fmla="*/ 0 w 190894"/>
                  <a:gd name="connsiteY6" fmla="*/ 103300 h 206599"/>
                  <a:gd name="connsiteX7" fmla="*/ 97928 w 190894"/>
                  <a:gd name="connsiteY7" fmla="*/ 0 h 206599"/>
                  <a:gd name="connsiteX8" fmla="*/ 190894 w 190894"/>
                  <a:gd name="connsiteY8" fmla="*/ 103300 h 206599"/>
                  <a:gd name="connsiteX9" fmla="*/ 190086 w 190894"/>
                  <a:gd name="connsiteY9" fmla="*/ 118577 h 206599"/>
                  <a:gd name="connsiteX10" fmla="*/ 39827 w 190894"/>
                  <a:gd name="connsiteY10" fmla="*/ 86396 h 206599"/>
                  <a:gd name="connsiteX11" fmla="*/ 151472 w 190894"/>
                  <a:gd name="connsiteY11" fmla="*/ 86396 h 206599"/>
                  <a:gd name="connsiteX12" fmla="*/ 97950 w 190894"/>
                  <a:gd name="connsiteY12" fmla="*/ 35617 h 206599"/>
                  <a:gd name="connsiteX13" fmla="*/ 39827 w 190894"/>
                  <a:gd name="connsiteY13" fmla="*/ 86396 h 20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0894" h="206599">
                    <a:moveTo>
                      <a:pt x="190041" y="118577"/>
                    </a:moveTo>
                    <a:lnTo>
                      <a:pt x="39423" y="118577"/>
                    </a:lnTo>
                    <a:cubicBezTo>
                      <a:pt x="44833" y="150758"/>
                      <a:pt x="68024" y="171051"/>
                      <a:pt x="97950" y="171051"/>
                    </a:cubicBezTo>
                    <a:cubicBezTo>
                      <a:pt x="122444" y="171051"/>
                      <a:pt x="138608" y="161294"/>
                      <a:pt x="146914" y="143108"/>
                    </a:cubicBezTo>
                    <a:lnTo>
                      <a:pt x="185910" y="143108"/>
                    </a:lnTo>
                    <a:cubicBezTo>
                      <a:pt x="174259" y="180763"/>
                      <a:pt x="140696" y="206599"/>
                      <a:pt x="97928" y="206599"/>
                    </a:cubicBezTo>
                    <a:cubicBezTo>
                      <a:pt x="41488" y="206599"/>
                      <a:pt x="0" y="164707"/>
                      <a:pt x="0" y="103300"/>
                    </a:cubicBezTo>
                    <a:cubicBezTo>
                      <a:pt x="0" y="41892"/>
                      <a:pt x="40657" y="0"/>
                      <a:pt x="97928" y="0"/>
                    </a:cubicBezTo>
                    <a:cubicBezTo>
                      <a:pt x="148957" y="0"/>
                      <a:pt x="190894" y="44481"/>
                      <a:pt x="190894" y="103300"/>
                    </a:cubicBezTo>
                    <a:cubicBezTo>
                      <a:pt x="190894" y="109232"/>
                      <a:pt x="190894" y="112645"/>
                      <a:pt x="190086" y="118577"/>
                    </a:cubicBezTo>
                    <a:close/>
                    <a:moveTo>
                      <a:pt x="39827" y="86396"/>
                    </a:moveTo>
                    <a:lnTo>
                      <a:pt x="151472" y="86396"/>
                    </a:lnTo>
                    <a:cubicBezTo>
                      <a:pt x="148980" y="59277"/>
                      <a:pt x="127428" y="35617"/>
                      <a:pt x="97950" y="35617"/>
                    </a:cubicBezTo>
                    <a:cubicBezTo>
                      <a:pt x="68024" y="35571"/>
                      <a:pt x="45596" y="55498"/>
                      <a:pt x="39827" y="86396"/>
                    </a:cubicBezTo>
                    <a:close/>
                  </a:path>
                </a:pathLst>
              </a:custGeom>
              <a:solidFill>
                <a:srgbClr val="FFFFFF"/>
              </a:solidFill>
              <a:ln w="2231" cap="flat">
                <a:noFill/>
                <a:prstDash val="solid"/>
                <a:miter/>
              </a:ln>
            </p:spPr>
            <p:txBody>
              <a:bodyPr rtlCol="0" anchor="ctr"/>
              <a:lstStyle/>
              <a:p>
                <a:endParaRPr lang="en-RU"/>
              </a:p>
            </p:txBody>
          </p:sp>
          <p:sp>
            <p:nvSpPr>
              <p:cNvPr id="17" name="Freeform 16">
                <a:extLst>
                  <a:ext uri="{FF2B5EF4-FFF2-40B4-BE49-F238E27FC236}">
                    <a16:creationId xmlns:a16="http://schemas.microsoft.com/office/drawing/2014/main" id="{36F5327F-3032-54AE-818B-D60F2D90CEE7}"/>
                  </a:ext>
                </a:extLst>
              </p:cNvPr>
              <p:cNvSpPr/>
              <p:nvPr/>
            </p:nvSpPr>
            <p:spPr>
              <a:xfrm>
                <a:off x="2920572" y="-933884"/>
                <a:ext cx="190894" cy="206599"/>
              </a:xfrm>
              <a:custGeom>
                <a:avLst/>
                <a:gdLst>
                  <a:gd name="connsiteX0" fmla="*/ 190041 w 190894"/>
                  <a:gd name="connsiteY0" fmla="*/ 118577 h 206599"/>
                  <a:gd name="connsiteX1" fmla="*/ 39423 w 190894"/>
                  <a:gd name="connsiteY1" fmla="*/ 118577 h 206599"/>
                  <a:gd name="connsiteX2" fmla="*/ 97950 w 190894"/>
                  <a:gd name="connsiteY2" fmla="*/ 171051 h 206599"/>
                  <a:gd name="connsiteX3" fmla="*/ 146914 w 190894"/>
                  <a:gd name="connsiteY3" fmla="*/ 143108 h 206599"/>
                  <a:gd name="connsiteX4" fmla="*/ 185910 w 190894"/>
                  <a:gd name="connsiteY4" fmla="*/ 143108 h 206599"/>
                  <a:gd name="connsiteX5" fmla="*/ 97928 w 190894"/>
                  <a:gd name="connsiteY5" fmla="*/ 206599 h 206599"/>
                  <a:gd name="connsiteX6" fmla="*/ 0 w 190894"/>
                  <a:gd name="connsiteY6" fmla="*/ 103300 h 206599"/>
                  <a:gd name="connsiteX7" fmla="*/ 97928 w 190894"/>
                  <a:gd name="connsiteY7" fmla="*/ 0 h 206599"/>
                  <a:gd name="connsiteX8" fmla="*/ 190894 w 190894"/>
                  <a:gd name="connsiteY8" fmla="*/ 103300 h 206599"/>
                  <a:gd name="connsiteX9" fmla="*/ 190086 w 190894"/>
                  <a:gd name="connsiteY9" fmla="*/ 118577 h 206599"/>
                  <a:gd name="connsiteX10" fmla="*/ 39827 w 190894"/>
                  <a:gd name="connsiteY10" fmla="*/ 86396 h 206599"/>
                  <a:gd name="connsiteX11" fmla="*/ 151472 w 190894"/>
                  <a:gd name="connsiteY11" fmla="*/ 86396 h 206599"/>
                  <a:gd name="connsiteX12" fmla="*/ 97950 w 190894"/>
                  <a:gd name="connsiteY12" fmla="*/ 35617 h 206599"/>
                  <a:gd name="connsiteX13" fmla="*/ 39827 w 190894"/>
                  <a:gd name="connsiteY13" fmla="*/ 86396 h 20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0894" h="206599">
                    <a:moveTo>
                      <a:pt x="190041" y="118577"/>
                    </a:moveTo>
                    <a:lnTo>
                      <a:pt x="39423" y="118577"/>
                    </a:lnTo>
                    <a:cubicBezTo>
                      <a:pt x="44833" y="150758"/>
                      <a:pt x="68024" y="171051"/>
                      <a:pt x="97950" y="171051"/>
                    </a:cubicBezTo>
                    <a:cubicBezTo>
                      <a:pt x="122444" y="171051"/>
                      <a:pt x="138608" y="161294"/>
                      <a:pt x="146914" y="143108"/>
                    </a:cubicBezTo>
                    <a:lnTo>
                      <a:pt x="185910" y="143108"/>
                    </a:lnTo>
                    <a:cubicBezTo>
                      <a:pt x="174259" y="180763"/>
                      <a:pt x="140696" y="206599"/>
                      <a:pt x="97928" y="206599"/>
                    </a:cubicBezTo>
                    <a:cubicBezTo>
                      <a:pt x="41488" y="206599"/>
                      <a:pt x="0" y="164707"/>
                      <a:pt x="0" y="103300"/>
                    </a:cubicBezTo>
                    <a:cubicBezTo>
                      <a:pt x="0" y="41892"/>
                      <a:pt x="40657" y="0"/>
                      <a:pt x="97928" y="0"/>
                    </a:cubicBezTo>
                    <a:cubicBezTo>
                      <a:pt x="148957" y="0"/>
                      <a:pt x="190894" y="44481"/>
                      <a:pt x="190894" y="103300"/>
                    </a:cubicBezTo>
                    <a:cubicBezTo>
                      <a:pt x="190894" y="109232"/>
                      <a:pt x="190894" y="112645"/>
                      <a:pt x="190086" y="118577"/>
                    </a:cubicBezTo>
                    <a:close/>
                    <a:moveTo>
                      <a:pt x="39827" y="86396"/>
                    </a:moveTo>
                    <a:lnTo>
                      <a:pt x="151472" y="86396"/>
                    </a:lnTo>
                    <a:cubicBezTo>
                      <a:pt x="148980" y="59277"/>
                      <a:pt x="127428" y="35617"/>
                      <a:pt x="97950" y="35617"/>
                    </a:cubicBezTo>
                    <a:cubicBezTo>
                      <a:pt x="68024" y="35571"/>
                      <a:pt x="45641" y="55498"/>
                      <a:pt x="39827" y="86396"/>
                    </a:cubicBezTo>
                    <a:close/>
                  </a:path>
                </a:pathLst>
              </a:custGeom>
              <a:solidFill>
                <a:srgbClr val="FFFFFF"/>
              </a:solidFill>
              <a:ln w="2231" cap="flat">
                <a:noFill/>
                <a:prstDash val="solid"/>
                <a:miter/>
              </a:ln>
            </p:spPr>
            <p:txBody>
              <a:bodyPr rtlCol="0" anchor="ctr"/>
              <a:lstStyle/>
              <a:p>
                <a:endParaRPr lang="en-RU"/>
              </a:p>
            </p:txBody>
          </p:sp>
          <p:sp>
            <p:nvSpPr>
              <p:cNvPr id="18" name="Freeform 17">
                <a:extLst>
                  <a:ext uri="{FF2B5EF4-FFF2-40B4-BE49-F238E27FC236}">
                    <a16:creationId xmlns:a16="http://schemas.microsoft.com/office/drawing/2014/main" id="{2135A0CB-5B5E-2741-CC8D-6CA89F0A0671}"/>
                  </a:ext>
                </a:extLst>
              </p:cNvPr>
              <p:cNvSpPr/>
              <p:nvPr/>
            </p:nvSpPr>
            <p:spPr>
              <a:xfrm>
                <a:off x="3126777" y="-933861"/>
                <a:ext cx="195070" cy="206599"/>
              </a:xfrm>
              <a:custGeom>
                <a:avLst/>
                <a:gdLst>
                  <a:gd name="connsiteX0" fmla="*/ 195070 w 195070"/>
                  <a:gd name="connsiteY0" fmla="*/ 103300 h 206599"/>
                  <a:gd name="connsiteX1" fmla="*/ 195070 w 195070"/>
                  <a:gd name="connsiteY1" fmla="*/ 202362 h 206599"/>
                  <a:gd name="connsiteX2" fmla="*/ 161462 w 195070"/>
                  <a:gd name="connsiteY2" fmla="*/ 202362 h 206599"/>
                  <a:gd name="connsiteX3" fmla="*/ 158117 w 195070"/>
                  <a:gd name="connsiteY3" fmla="*/ 171464 h 206599"/>
                  <a:gd name="connsiteX4" fmla="*/ 93371 w 195070"/>
                  <a:gd name="connsiteY4" fmla="*/ 206599 h 206599"/>
                  <a:gd name="connsiteX5" fmla="*/ 0 w 195070"/>
                  <a:gd name="connsiteY5" fmla="*/ 103300 h 206599"/>
                  <a:gd name="connsiteX6" fmla="*/ 98332 w 195070"/>
                  <a:gd name="connsiteY6" fmla="*/ 0 h 206599"/>
                  <a:gd name="connsiteX7" fmla="*/ 195070 w 195070"/>
                  <a:gd name="connsiteY7" fmla="*/ 103300 h 206599"/>
                  <a:gd name="connsiteX8" fmla="*/ 156860 w 195070"/>
                  <a:gd name="connsiteY8" fmla="*/ 103300 h 206599"/>
                  <a:gd name="connsiteX9" fmla="*/ 98332 w 195070"/>
                  <a:gd name="connsiteY9" fmla="*/ 35571 h 206599"/>
                  <a:gd name="connsiteX10" fmla="*/ 38188 w 195070"/>
                  <a:gd name="connsiteY10" fmla="*/ 103300 h 206599"/>
                  <a:gd name="connsiteX11" fmla="*/ 98332 w 195070"/>
                  <a:gd name="connsiteY11" fmla="*/ 171029 h 206599"/>
                  <a:gd name="connsiteX12" fmla="*/ 156860 w 195070"/>
                  <a:gd name="connsiteY12" fmla="*/ 103300 h 20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5070" h="206599">
                    <a:moveTo>
                      <a:pt x="195070" y="103300"/>
                    </a:moveTo>
                    <a:lnTo>
                      <a:pt x="195070" y="202362"/>
                    </a:lnTo>
                    <a:lnTo>
                      <a:pt x="161462" y="202362"/>
                    </a:lnTo>
                    <a:lnTo>
                      <a:pt x="158117" y="171464"/>
                    </a:lnTo>
                    <a:cubicBezTo>
                      <a:pt x="143188" y="194345"/>
                      <a:pt x="117056" y="206599"/>
                      <a:pt x="93371" y="206599"/>
                    </a:cubicBezTo>
                    <a:cubicBezTo>
                      <a:pt x="40253" y="206599"/>
                      <a:pt x="0" y="163424"/>
                      <a:pt x="0" y="103300"/>
                    </a:cubicBezTo>
                    <a:cubicBezTo>
                      <a:pt x="0" y="43175"/>
                      <a:pt x="43149" y="0"/>
                      <a:pt x="98332" y="0"/>
                    </a:cubicBezTo>
                    <a:cubicBezTo>
                      <a:pt x="149002" y="0"/>
                      <a:pt x="195070" y="37243"/>
                      <a:pt x="195070" y="103300"/>
                    </a:cubicBezTo>
                    <a:close/>
                    <a:moveTo>
                      <a:pt x="156860" y="103300"/>
                    </a:moveTo>
                    <a:cubicBezTo>
                      <a:pt x="156860" y="59712"/>
                      <a:pt x="128662" y="35571"/>
                      <a:pt x="98332" y="35571"/>
                    </a:cubicBezTo>
                    <a:cubicBezTo>
                      <a:pt x="65128" y="35571"/>
                      <a:pt x="38188" y="62690"/>
                      <a:pt x="38188" y="103300"/>
                    </a:cubicBezTo>
                    <a:cubicBezTo>
                      <a:pt x="38188" y="143910"/>
                      <a:pt x="63108" y="171029"/>
                      <a:pt x="98332" y="171029"/>
                    </a:cubicBezTo>
                    <a:cubicBezTo>
                      <a:pt x="128258" y="171029"/>
                      <a:pt x="156860" y="145604"/>
                      <a:pt x="156860" y="103300"/>
                    </a:cubicBezTo>
                    <a:close/>
                  </a:path>
                </a:pathLst>
              </a:custGeom>
              <a:solidFill>
                <a:srgbClr val="FFFFFF"/>
              </a:solidFill>
              <a:ln w="2231" cap="flat">
                <a:noFill/>
                <a:prstDash val="solid"/>
                <a:miter/>
              </a:ln>
            </p:spPr>
            <p:txBody>
              <a:bodyPr rtlCol="0" anchor="ctr"/>
              <a:lstStyle/>
              <a:p>
                <a:endParaRPr lang="en-RU"/>
              </a:p>
            </p:txBody>
          </p:sp>
          <p:sp>
            <p:nvSpPr>
              <p:cNvPr id="19" name="Freeform 18">
                <a:extLst>
                  <a:ext uri="{FF2B5EF4-FFF2-40B4-BE49-F238E27FC236}">
                    <a16:creationId xmlns:a16="http://schemas.microsoft.com/office/drawing/2014/main" id="{8CFC9282-AFB7-9636-C7E0-643BC05F0BB5}"/>
                  </a:ext>
                </a:extLst>
              </p:cNvPr>
              <p:cNvSpPr/>
              <p:nvPr/>
            </p:nvSpPr>
            <p:spPr>
              <a:xfrm>
                <a:off x="3347575" y="-933792"/>
                <a:ext cx="285566" cy="202728"/>
              </a:xfrm>
              <a:custGeom>
                <a:avLst/>
                <a:gdLst>
                  <a:gd name="connsiteX0" fmla="*/ 0 w 285566"/>
                  <a:gd name="connsiteY0" fmla="*/ 202316 h 202728"/>
                  <a:gd name="connsiteX1" fmla="*/ 0 w 285566"/>
                  <a:gd name="connsiteY1" fmla="*/ 85068 h 202728"/>
                  <a:gd name="connsiteX2" fmla="*/ 79698 w 285566"/>
                  <a:gd name="connsiteY2" fmla="*/ 0 h 202728"/>
                  <a:gd name="connsiteX3" fmla="*/ 142379 w 285566"/>
                  <a:gd name="connsiteY3" fmla="*/ 36006 h 202728"/>
                  <a:gd name="connsiteX4" fmla="*/ 143188 w 285566"/>
                  <a:gd name="connsiteY4" fmla="*/ 36006 h 202728"/>
                  <a:gd name="connsiteX5" fmla="*/ 205869 w 285566"/>
                  <a:gd name="connsiteY5" fmla="*/ 0 h 202728"/>
                  <a:gd name="connsiteX6" fmla="*/ 285567 w 285566"/>
                  <a:gd name="connsiteY6" fmla="*/ 85068 h 202728"/>
                  <a:gd name="connsiteX7" fmla="*/ 285567 w 285566"/>
                  <a:gd name="connsiteY7" fmla="*/ 202316 h 202728"/>
                  <a:gd name="connsiteX8" fmla="*/ 247402 w 285566"/>
                  <a:gd name="connsiteY8" fmla="*/ 202316 h 202728"/>
                  <a:gd name="connsiteX9" fmla="*/ 247402 w 285566"/>
                  <a:gd name="connsiteY9" fmla="*/ 87999 h 202728"/>
                  <a:gd name="connsiteX10" fmla="*/ 204679 w 285566"/>
                  <a:gd name="connsiteY10" fmla="*/ 36350 h 202728"/>
                  <a:gd name="connsiteX11" fmla="*/ 161956 w 285566"/>
                  <a:gd name="connsiteY11" fmla="*/ 88824 h 202728"/>
                  <a:gd name="connsiteX12" fmla="*/ 161956 w 285566"/>
                  <a:gd name="connsiteY12" fmla="*/ 202729 h 202728"/>
                  <a:gd name="connsiteX13" fmla="*/ 123791 w 285566"/>
                  <a:gd name="connsiteY13" fmla="*/ 202729 h 202728"/>
                  <a:gd name="connsiteX14" fmla="*/ 123791 w 285566"/>
                  <a:gd name="connsiteY14" fmla="*/ 88824 h 202728"/>
                  <a:gd name="connsiteX15" fmla="*/ 81068 w 285566"/>
                  <a:gd name="connsiteY15" fmla="*/ 36350 h 202728"/>
                  <a:gd name="connsiteX16" fmla="*/ 38345 w 285566"/>
                  <a:gd name="connsiteY16" fmla="*/ 87999 h 202728"/>
                  <a:gd name="connsiteX17" fmla="*/ 38345 w 285566"/>
                  <a:gd name="connsiteY17" fmla="*/ 202316 h 202728"/>
                  <a:gd name="connsiteX18" fmla="*/ 90 w 285566"/>
                  <a:gd name="connsiteY18" fmla="*/ 202316 h 20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5566" h="202728">
                    <a:moveTo>
                      <a:pt x="0" y="202316"/>
                    </a:moveTo>
                    <a:lnTo>
                      <a:pt x="0" y="85068"/>
                    </a:lnTo>
                    <a:cubicBezTo>
                      <a:pt x="0" y="35525"/>
                      <a:pt x="31138" y="0"/>
                      <a:pt x="79698" y="0"/>
                    </a:cubicBezTo>
                    <a:cubicBezTo>
                      <a:pt x="118694" y="0"/>
                      <a:pt x="139438" y="26661"/>
                      <a:pt x="142379" y="36006"/>
                    </a:cubicBezTo>
                    <a:lnTo>
                      <a:pt x="143188" y="36006"/>
                    </a:lnTo>
                    <a:cubicBezTo>
                      <a:pt x="146084" y="26707"/>
                      <a:pt x="166828" y="0"/>
                      <a:pt x="205869" y="0"/>
                    </a:cubicBezTo>
                    <a:cubicBezTo>
                      <a:pt x="254428" y="0"/>
                      <a:pt x="285567" y="35548"/>
                      <a:pt x="285567" y="85068"/>
                    </a:cubicBezTo>
                    <a:lnTo>
                      <a:pt x="285567" y="202316"/>
                    </a:lnTo>
                    <a:lnTo>
                      <a:pt x="247402" y="202316"/>
                    </a:lnTo>
                    <a:lnTo>
                      <a:pt x="247402" y="87999"/>
                    </a:lnTo>
                    <a:cubicBezTo>
                      <a:pt x="247402" y="55818"/>
                      <a:pt x="233280" y="36350"/>
                      <a:pt x="204679" y="36350"/>
                    </a:cubicBezTo>
                    <a:cubicBezTo>
                      <a:pt x="176077" y="36350"/>
                      <a:pt x="161956" y="55818"/>
                      <a:pt x="161956" y="88824"/>
                    </a:cubicBezTo>
                    <a:lnTo>
                      <a:pt x="161956" y="202729"/>
                    </a:lnTo>
                    <a:lnTo>
                      <a:pt x="123791" y="202729"/>
                    </a:lnTo>
                    <a:lnTo>
                      <a:pt x="123791" y="88824"/>
                    </a:lnTo>
                    <a:cubicBezTo>
                      <a:pt x="123791" y="55818"/>
                      <a:pt x="109669" y="36350"/>
                      <a:pt x="81068" y="36350"/>
                    </a:cubicBezTo>
                    <a:cubicBezTo>
                      <a:pt x="52466" y="36350"/>
                      <a:pt x="38345" y="55818"/>
                      <a:pt x="38345" y="87999"/>
                    </a:cubicBezTo>
                    <a:lnTo>
                      <a:pt x="38345" y="202316"/>
                    </a:lnTo>
                    <a:lnTo>
                      <a:pt x="90" y="202316"/>
                    </a:lnTo>
                    <a:close/>
                  </a:path>
                </a:pathLst>
              </a:custGeom>
              <a:solidFill>
                <a:srgbClr val="FFFFFF"/>
              </a:solidFill>
              <a:ln w="2231" cap="flat">
                <a:noFill/>
                <a:prstDash val="solid"/>
                <a:miter/>
              </a:ln>
            </p:spPr>
            <p:txBody>
              <a:bodyPr rtlCol="0" anchor="ctr"/>
              <a:lstStyle/>
              <a:p>
                <a:endParaRPr lang="en-RU"/>
              </a:p>
            </p:txBody>
          </p:sp>
        </p:grpSp>
      </p:grpSp>
    </p:spTree>
    <p:extLst>
      <p:ext uri="{BB962C8B-B14F-4D97-AF65-F5344CB8AC3E}">
        <p14:creationId xmlns:p14="http://schemas.microsoft.com/office/powerpoint/2010/main" val="224304092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Quote &amp; Picture Dark">
    <p:bg>
      <p:bgPr>
        <a:solidFill>
          <a:schemeClr val="accent1"/>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7B2A64-C4B7-C367-988A-AF7D9B55C478}"/>
              </a:ext>
            </a:extLst>
          </p:cNvPr>
          <p:cNvSpPr>
            <a:spLocks noGrp="1"/>
          </p:cNvSpPr>
          <p:nvPr>
            <p:ph type="pic" sz="quarter" idx="12" hasCustomPrompt="1"/>
          </p:nvPr>
        </p:nvSpPr>
        <p:spPr>
          <a:xfrm>
            <a:off x="6210300" y="0"/>
            <a:ext cx="5981700" cy="6858000"/>
          </a:xfrm>
          <a:custGeom>
            <a:avLst/>
            <a:gdLst>
              <a:gd name="connsiteX0" fmla="*/ 0 w 5981700"/>
              <a:gd name="connsiteY0" fmla="*/ 0 h 6858000"/>
              <a:gd name="connsiteX1" fmla="*/ 5981700 w 5981700"/>
              <a:gd name="connsiteY1" fmla="*/ 0 h 6858000"/>
              <a:gd name="connsiteX2" fmla="*/ 5981700 w 5981700"/>
              <a:gd name="connsiteY2" fmla="*/ 6858000 h 6858000"/>
              <a:gd name="connsiteX3" fmla="*/ 868521 w 5981700"/>
              <a:gd name="connsiteY3" fmla="*/ 6858000 h 6858000"/>
              <a:gd name="connsiteX4" fmla="*/ 832220 w 5981700"/>
              <a:gd name="connsiteY4" fmla="*/ 6854460 h 6858000"/>
              <a:gd name="connsiteX5" fmla="*/ 628589 w 5981700"/>
              <a:gd name="connsiteY5" fmla="*/ 6746455 h 6858000"/>
              <a:gd name="connsiteX6" fmla="*/ 108122 w 5981700"/>
              <a:gd name="connsiteY6" fmla="*/ 6225987 h 6858000"/>
              <a:gd name="connsiteX7" fmla="*/ 21455 w 5981700"/>
              <a:gd name="connsiteY7" fmla="*/ 6095966 h 6858000"/>
              <a:gd name="connsiteX8" fmla="*/ 0 w 5981700"/>
              <a:gd name="connsiteY8" fmla="*/ 60250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1700" h="6858000">
                <a:moveTo>
                  <a:pt x="0" y="0"/>
                </a:moveTo>
                <a:lnTo>
                  <a:pt x="5981700" y="0"/>
                </a:lnTo>
                <a:lnTo>
                  <a:pt x="5981700" y="6858000"/>
                </a:lnTo>
                <a:lnTo>
                  <a:pt x="868521" y="6858000"/>
                </a:lnTo>
                <a:lnTo>
                  <a:pt x="832220" y="6854460"/>
                </a:lnTo>
                <a:cubicBezTo>
                  <a:pt x="755128" y="6839198"/>
                  <a:pt x="683798" y="6801663"/>
                  <a:pt x="628589" y="6746455"/>
                </a:cubicBezTo>
                <a:lnTo>
                  <a:pt x="108122" y="6225987"/>
                </a:lnTo>
                <a:cubicBezTo>
                  <a:pt x="70644" y="6188509"/>
                  <a:pt x="41357" y="6144201"/>
                  <a:pt x="21455" y="6095966"/>
                </a:cubicBezTo>
                <a:lnTo>
                  <a:pt x="0" y="6025028"/>
                </a:lnTo>
                <a:close/>
              </a:path>
            </a:pathLst>
          </a:custGeom>
          <a:solidFill>
            <a:schemeClr val="bg1"/>
          </a:solidFill>
        </p:spPr>
        <p:txBody>
          <a:bodyPr wrap="square" lIns="182880" tIns="182880" rIns="0" anchor="t">
            <a:noAutofit/>
          </a:bodyPr>
          <a:lstStyle>
            <a:lvl1pPr marL="0" indent="0" algn="ctr">
              <a:buNone/>
              <a:defRPr>
                <a:solidFill>
                  <a:schemeClr val="accent1"/>
                </a:solidFill>
              </a:defRPr>
            </a:lvl1pPr>
          </a:lstStyle>
          <a:p>
            <a:r>
              <a:rPr lang="en-US"/>
              <a:t>Please use Veeam approved images</a:t>
            </a:r>
          </a:p>
        </p:txBody>
      </p:sp>
      <p:sp>
        <p:nvSpPr>
          <p:cNvPr id="20" name="object 2">
            <a:extLst>
              <a:ext uri="{FF2B5EF4-FFF2-40B4-BE49-F238E27FC236}">
                <a16:creationId xmlns:a16="http://schemas.microsoft.com/office/drawing/2014/main" id="{58FA5FE2-5D7E-51F0-AF6A-A46282840665}"/>
              </a:ext>
            </a:extLst>
          </p:cNvPr>
          <p:cNvSpPr/>
          <p:nvPr userDrawn="1"/>
        </p:nvSpPr>
        <p:spPr>
          <a:xfrm>
            <a:off x="528239" y="1034733"/>
            <a:ext cx="468070" cy="468069"/>
          </a:xfrm>
          <a:custGeom>
            <a:avLst/>
            <a:gdLst/>
            <a:ahLst/>
            <a:cxnLst/>
            <a:rect l="l" t="t" r="r" b="b"/>
            <a:pathLst>
              <a:path w="828675" h="828675">
                <a:moveTo>
                  <a:pt x="828121" y="0"/>
                </a:moveTo>
                <a:lnTo>
                  <a:pt x="511712" y="565"/>
                </a:lnTo>
                <a:lnTo>
                  <a:pt x="468206" y="4936"/>
                </a:lnTo>
                <a:lnTo>
                  <a:pt x="426776" y="17574"/>
                </a:lnTo>
                <a:lnTo>
                  <a:pt x="388579" y="37999"/>
                </a:lnTo>
                <a:lnTo>
                  <a:pt x="354774" y="65736"/>
                </a:lnTo>
                <a:lnTo>
                  <a:pt x="65736" y="354774"/>
                </a:lnTo>
                <a:lnTo>
                  <a:pt x="38004" y="388579"/>
                </a:lnTo>
                <a:lnTo>
                  <a:pt x="17577" y="426774"/>
                </a:lnTo>
                <a:lnTo>
                  <a:pt x="4938" y="468201"/>
                </a:lnTo>
                <a:lnTo>
                  <a:pt x="565" y="511701"/>
                </a:lnTo>
                <a:lnTo>
                  <a:pt x="0" y="828110"/>
                </a:lnTo>
                <a:lnTo>
                  <a:pt x="235553" y="828110"/>
                </a:lnTo>
                <a:lnTo>
                  <a:pt x="236087" y="280776"/>
                </a:lnTo>
                <a:lnTo>
                  <a:pt x="239616" y="263356"/>
                </a:lnTo>
                <a:lnTo>
                  <a:pt x="249213" y="249132"/>
                </a:lnTo>
                <a:lnTo>
                  <a:pt x="263438" y="239540"/>
                </a:lnTo>
                <a:lnTo>
                  <a:pt x="280850" y="236013"/>
                </a:lnTo>
                <a:lnTo>
                  <a:pt x="828121" y="235553"/>
                </a:lnTo>
                <a:lnTo>
                  <a:pt x="828121" y="0"/>
                </a:lnTo>
                <a:close/>
              </a:path>
            </a:pathLst>
          </a:custGeom>
          <a:gradFill flip="none" rotWithShape="1">
            <a:gsLst>
              <a:gs pos="0">
                <a:srgbClr val="00824A"/>
              </a:gs>
              <a:gs pos="95413">
                <a:srgbClr val="96FFA1"/>
              </a:gs>
              <a:gs pos="32000">
                <a:srgbClr val="00D05D"/>
              </a:gs>
            </a:gsLst>
            <a:lin ang="8400000" scaled="0"/>
            <a:tileRect/>
          </a:gradFill>
        </p:spPr>
        <p:txBody>
          <a:bodyPr wrap="square" lIns="0" tIns="0" rIns="0" bIns="0" rtlCol="0"/>
          <a:lstStyle/>
          <a:p>
            <a:pPr marR="0" lvl="0" indent="0" fontAlgn="auto">
              <a:lnSpc>
                <a:spcPct val="100000"/>
              </a:lnSpc>
              <a:spcBef>
                <a:spcPts val="0"/>
              </a:spcBef>
              <a:spcAft>
                <a:spcPts val="0"/>
              </a:spcAft>
              <a:buClrTx/>
              <a:buSzTx/>
              <a:buFontTx/>
              <a:buNone/>
              <a:tabLst/>
            </a:pPr>
            <a:endParaRPr kumimoji="0" b="0" i="0" u="none" strike="noStrike" kern="0" cap="none" spc="0" normalizeH="0" baseline="0" noProof="0">
              <a:ln>
                <a:noFill/>
              </a:ln>
              <a:solidFill>
                <a:srgbClr val="4F5860"/>
              </a:solidFill>
              <a:effectLst/>
              <a:uLnTx/>
              <a:uFillTx/>
            </a:endParaRPr>
          </a:p>
        </p:txBody>
      </p:sp>
      <p:sp>
        <p:nvSpPr>
          <p:cNvPr id="4" name="Title 1">
            <a:extLst>
              <a:ext uri="{FF2B5EF4-FFF2-40B4-BE49-F238E27FC236}">
                <a16:creationId xmlns:a16="http://schemas.microsoft.com/office/drawing/2014/main" id="{BE482577-7303-DB09-F554-CC530AA2BA73}"/>
              </a:ext>
            </a:extLst>
          </p:cNvPr>
          <p:cNvSpPr>
            <a:spLocks noGrp="1"/>
          </p:cNvSpPr>
          <p:nvPr>
            <p:ph type="title"/>
          </p:nvPr>
        </p:nvSpPr>
        <p:spPr>
          <a:xfrm>
            <a:off x="963257" y="1679120"/>
            <a:ext cx="4654906" cy="3118757"/>
          </a:xfrm>
        </p:spPr>
        <p:txBody>
          <a:bodyPr anchor="t"/>
          <a:lstStyle>
            <a:lvl1pPr>
              <a:lnSpc>
                <a:spcPct val="87000"/>
              </a:lnSpc>
              <a:defRPr>
                <a:solidFill>
                  <a:schemeClr val="bg1"/>
                </a:solidFill>
              </a:defRPr>
            </a:lvl1pPr>
          </a:lstStyle>
          <a:p>
            <a:r>
              <a:rPr lang="en-US"/>
              <a:t>Click to edit Master title style</a:t>
            </a:r>
          </a:p>
        </p:txBody>
      </p:sp>
      <p:sp>
        <p:nvSpPr>
          <p:cNvPr id="6" name="Subtitle 2">
            <a:extLst>
              <a:ext uri="{FF2B5EF4-FFF2-40B4-BE49-F238E27FC236}">
                <a16:creationId xmlns:a16="http://schemas.microsoft.com/office/drawing/2014/main" id="{E7A9E1AD-1EBF-6702-7F9A-782FC098DE4F}"/>
              </a:ext>
            </a:extLst>
          </p:cNvPr>
          <p:cNvSpPr>
            <a:spLocks noGrp="1"/>
          </p:cNvSpPr>
          <p:nvPr>
            <p:ph type="subTitle" idx="1" hasCustomPrompt="1"/>
          </p:nvPr>
        </p:nvSpPr>
        <p:spPr>
          <a:xfrm>
            <a:off x="963258" y="5078194"/>
            <a:ext cx="4654906" cy="747931"/>
          </a:xfrm>
        </p:spPr>
        <p:txBody>
          <a:bodyPr/>
          <a:lstStyle>
            <a:lvl1pPr marL="0" indent="0" algn="l">
              <a:buNone/>
              <a:defRPr lang="en-US" sz="2400" b="0" i="0" kern="1200" dirty="0">
                <a:solidFill>
                  <a:srgbClr val="8E71F4"/>
                </a:solidFill>
                <a:latin typeface="+mn-lt"/>
                <a:ea typeface="ES Build" pitchFamily="2" charset="77"/>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96000"/>
              </a:lnSpc>
              <a:spcBef>
                <a:spcPts val="900"/>
              </a:spcBef>
              <a:spcAft>
                <a:spcPts val="300"/>
              </a:spcAft>
              <a:buClrTx/>
              <a:buFont typeface="Arial" panose="020B0604020202020204" pitchFamily="34" charset="0"/>
              <a:buNone/>
              <a:tabLst/>
            </a:pPr>
            <a:r>
              <a:rPr lang="en-US"/>
              <a:t>Attribution</a:t>
            </a:r>
          </a:p>
        </p:txBody>
      </p:sp>
      <p:sp>
        <p:nvSpPr>
          <p:cNvPr id="7" name="TextBox 6">
            <a:extLst>
              <a:ext uri="{FF2B5EF4-FFF2-40B4-BE49-F238E27FC236}">
                <a16:creationId xmlns:a16="http://schemas.microsoft.com/office/drawing/2014/main" id="{43D509CB-B4E1-F410-E0F9-5870A7CBD72B}"/>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2369431040"/>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ent &amp; Picture Dark">
    <p:bg>
      <p:bgPr>
        <a:solidFill>
          <a:schemeClr val="accent1"/>
        </a:solidFill>
        <a:effectLst/>
      </p:bgPr>
    </p:bg>
    <p:spTree>
      <p:nvGrpSpPr>
        <p:cNvPr id="1" name=""/>
        <p:cNvGrpSpPr/>
        <p:nvPr/>
      </p:nvGrpSpPr>
      <p:grpSpPr>
        <a:xfrm>
          <a:off x="0" y="0"/>
          <a:ext cx="0" cy="0"/>
          <a:chOff x="0" y="0"/>
          <a:chExt cx="0" cy="0"/>
        </a:xfrm>
      </p:grpSpPr>
      <p:sp>
        <p:nvSpPr>
          <p:cNvPr id="4" name="Picture Placeholder 13">
            <a:extLst>
              <a:ext uri="{FF2B5EF4-FFF2-40B4-BE49-F238E27FC236}">
                <a16:creationId xmlns:a16="http://schemas.microsoft.com/office/drawing/2014/main" id="{ED376942-9122-FE26-7F33-37835C84C2AA}"/>
              </a:ext>
            </a:extLst>
          </p:cNvPr>
          <p:cNvSpPr>
            <a:spLocks noGrp="1"/>
          </p:cNvSpPr>
          <p:nvPr>
            <p:ph type="pic" sz="quarter" idx="12" hasCustomPrompt="1"/>
          </p:nvPr>
        </p:nvSpPr>
        <p:spPr>
          <a:xfrm>
            <a:off x="6210300" y="0"/>
            <a:ext cx="5981700" cy="6858000"/>
          </a:xfrm>
          <a:custGeom>
            <a:avLst/>
            <a:gdLst>
              <a:gd name="connsiteX0" fmla="*/ 0 w 5981700"/>
              <a:gd name="connsiteY0" fmla="*/ 0 h 6858000"/>
              <a:gd name="connsiteX1" fmla="*/ 5981700 w 5981700"/>
              <a:gd name="connsiteY1" fmla="*/ 0 h 6858000"/>
              <a:gd name="connsiteX2" fmla="*/ 5981700 w 5981700"/>
              <a:gd name="connsiteY2" fmla="*/ 6858000 h 6858000"/>
              <a:gd name="connsiteX3" fmla="*/ 868521 w 5981700"/>
              <a:gd name="connsiteY3" fmla="*/ 6858000 h 6858000"/>
              <a:gd name="connsiteX4" fmla="*/ 832220 w 5981700"/>
              <a:gd name="connsiteY4" fmla="*/ 6854460 h 6858000"/>
              <a:gd name="connsiteX5" fmla="*/ 628589 w 5981700"/>
              <a:gd name="connsiteY5" fmla="*/ 6746455 h 6858000"/>
              <a:gd name="connsiteX6" fmla="*/ 108122 w 5981700"/>
              <a:gd name="connsiteY6" fmla="*/ 6225987 h 6858000"/>
              <a:gd name="connsiteX7" fmla="*/ 21455 w 5981700"/>
              <a:gd name="connsiteY7" fmla="*/ 6095966 h 6858000"/>
              <a:gd name="connsiteX8" fmla="*/ 0 w 5981700"/>
              <a:gd name="connsiteY8" fmla="*/ 60250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1700" h="6858000">
                <a:moveTo>
                  <a:pt x="0" y="0"/>
                </a:moveTo>
                <a:lnTo>
                  <a:pt x="5981700" y="0"/>
                </a:lnTo>
                <a:lnTo>
                  <a:pt x="5981700" y="6858000"/>
                </a:lnTo>
                <a:lnTo>
                  <a:pt x="868521" y="6858000"/>
                </a:lnTo>
                <a:lnTo>
                  <a:pt x="832220" y="6854460"/>
                </a:lnTo>
                <a:cubicBezTo>
                  <a:pt x="755128" y="6839198"/>
                  <a:pt x="683798" y="6801663"/>
                  <a:pt x="628589" y="6746455"/>
                </a:cubicBezTo>
                <a:lnTo>
                  <a:pt x="108122" y="6225987"/>
                </a:lnTo>
                <a:cubicBezTo>
                  <a:pt x="70644" y="6188509"/>
                  <a:pt x="41357" y="6144201"/>
                  <a:pt x="21455" y="6095966"/>
                </a:cubicBezTo>
                <a:lnTo>
                  <a:pt x="0" y="6025028"/>
                </a:lnTo>
                <a:close/>
              </a:path>
            </a:pathLst>
          </a:custGeom>
          <a:solidFill>
            <a:schemeClr val="bg1"/>
          </a:solidFill>
        </p:spPr>
        <p:txBody>
          <a:bodyPr wrap="square" lIns="182880" tIns="182880" rIns="0" anchor="t">
            <a:noAutofit/>
          </a:bodyPr>
          <a:lstStyle>
            <a:lvl1pPr marL="0" indent="0" algn="ctr">
              <a:buNone/>
              <a:defRPr>
                <a:solidFill>
                  <a:schemeClr val="accent1"/>
                </a:solidFill>
              </a:defRPr>
            </a:lvl1pPr>
          </a:lstStyle>
          <a:p>
            <a:r>
              <a:rPr lang="en-US"/>
              <a:t>Please use Veeam approved images</a:t>
            </a:r>
          </a:p>
        </p:txBody>
      </p:sp>
      <p:sp>
        <p:nvSpPr>
          <p:cNvPr id="7" name="Footer Placeholder 66">
            <a:extLst>
              <a:ext uri="{FF2B5EF4-FFF2-40B4-BE49-F238E27FC236}">
                <a16:creationId xmlns:a16="http://schemas.microsoft.com/office/drawing/2014/main" id="{4417850A-FAA8-5D15-90BA-B41AB668363D}"/>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bg1"/>
                </a:solidFill>
              </a:defRPr>
            </a:lvl1pPr>
          </a:lstStyle>
          <a:p>
            <a:endParaRPr lang="en-US"/>
          </a:p>
        </p:txBody>
      </p:sp>
      <p:sp>
        <p:nvSpPr>
          <p:cNvPr id="8" name="Title 6">
            <a:extLst>
              <a:ext uri="{FF2B5EF4-FFF2-40B4-BE49-F238E27FC236}">
                <a16:creationId xmlns:a16="http://schemas.microsoft.com/office/drawing/2014/main" id="{08B0FC79-36B3-4D17-145A-3339EEABE254}"/>
              </a:ext>
            </a:extLst>
          </p:cNvPr>
          <p:cNvSpPr>
            <a:spLocks noGrp="1"/>
          </p:cNvSpPr>
          <p:nvPr>
            <p:ph type="title"/>
          </p:nvPr>
        </p:nvSpPr>
        <p:spPr>
          <a:xfrm>
            <a:off x="493712" y="342900"/>
            <a:ext cx="5124451" cy="682625"/>
          </a:xfrm>
        </p:spPr>
        <p:txBody>
          <a:bodyPr>
            <a:noAutofit/>
          </a:bodyPr>
          <a:lstStyle>
            <a:lvl1pPr>
              <a:defRPr>
                <a:solidFill>
                  <a:schemeClr val="accent2"/>
                </a:solidFill>
              </a:defRPr>
            </a:lvl1pPr>
          </a:lstStyle>
          <a:p>
            <a:r>
              <a:rPr lang="en-US"/>
              <a:t>Click to edit Master title style</a:t>
            </a:r>
          </a:p>
        </p:txBody>
      </p:sp>
      <p:sp>
        <p:nvSpPr>
          <p:cNvPr id="10" name="Subtitle 2">
            <a:extLst>
              <a:ext uri="{FF2B5EF4-FFF2-40B4-BE49-F238E27FC236}">
                <a16:creationId xmlns:a16="http://schemas.microsoft.com/office/drawing/2014/main" id="{C8FAE5B9-C92B-83C8-7E05-9FB6D50A289C}"/>
              </a:ext>
            </a:extLst>
          </p:cNvPr>
          <p:cNvSpPr>
            <a:spLocks noGrp="1"/>
          </p:cNvSpPr>
          <p:nvPr>
            <p:ph type="subTitle" idx="1"/>
          </p:nvPr>
        </p:nvSpPr>
        <p:spPr>
          <a:xfrm>
            <a:off x="502179" y="1032607"/>
            <a:ext cx="5124451" cy="338993"/>
          </a:xfrm>
        </p:spPr>
        <p:txBody>
          <a:bodyPr>
            <a:noAutofit/>
          </a:bodyPr>
          <a:lstStyle>
            <a:lvl1pPr marL="0" indent="0" algn="l">
              <a:buNone/>
              <a:defRPr sz="2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Box 11">
            <a:extLst>
              <a:ext uri="{FF2B5EF4-FFF2-40B4-BE49-F238E27FC236}">
                <a16:creationId xmlns:a16="http://schemas.microsoft.com/office/drawing/2014/main" id="{E739996B-E07D-D083-7A0F-B3C5FADF7F2D}"/>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
        <p:nvSpPr>
          <p:cNvPr id="17" name="Content Placeholder 18">
            <a:extLst>
              <a:ext uri="{FF2B5EF4-FFF2-40B4-BE49-F238E27FC236}">
                <a16:creationId xmlns:a16="http://schemas.microsoft.com/office/drawing/2014/main" id="{B4232086-16D8-AF74-93B5-C455E7588853}"/>
              </a:ext>
            </a:extLst>
          </p:cNvPr>
          <p:cNvSpPr>
            <a:spLocks noGrp="1"/>
          </p:cNvSpPr>
          <p:nvPr>
            <p:ph sz="quarter" idx="10"/>
          </p:nvPr>
        </p:nvSpPr>
        <p:spPr>
          <a:xfrm>
            <a:off x="493288" y="1719645"/>
            <a:ext cx="5124452" cy="444938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87197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mparison Split Black Righ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BD812B8-83BF-8AA5-9821-680835CFF508}"/>
              </a:ext>
            </a:extLst>
          </p:cNvPr>
          <p:cNvSpPr/>
          <p:nvPr/>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4" name="Title 1">
            <a:extLst>
              <a:ext uri="{FF2B5EF4-FFF2-40B4-BE49-F238E27FC236}">
                <a16:creationId xmlns:a16="http://schemas.microsoft.com/office/drawing/2014/main" id="{F03A6B59-1452-CCC2-312B-7DE441C696E7}"/>
              </a:ext>
            </a:extLst>
          </p:cNvPr>
          <p:cNvSpPr>
            <a:spLocks noGrp="1"/>
          </p:cNvSpPr>
          <p:nvPr>
            <p:ph type="title"/>
          </p:nvPr>
        </p:nvSpPr>
        <p:spPr>
          <a:xfrm>
            <a:off x="493714" y="579438"/>
            <a:ext cx="5113896" cy="792162"/>
          </a:xfrm>
        </p:spPr>
        <p:txBody>
          <a:bodyPr>
            <a:noAutofit/>
          </a:bodyPr>
          <a:lstStyle>
            <a:lvl1pPr>
              <a:lnSpc>
                <a:spcPct val="85000"/>
              </a:lnSpc>
              <a:defRPr/>
            </a:lvl1pPr>
          </a:lstStyle>
          <a:p>
            <a:r>
              <a:rPr lang="en-US"/>
              <a:t>Click to edit Master title style</a:t>
            </a:r>
          </a:p>
        </p:txBody>
      </p:sp>
      <p:sp>
        <p:nvSpPr>
          <p:cNvPr id="8" name="Text Placeholder 12">
            <a:extLst>
              <a:ext uri="{FF2B5EF4-FFF2-40B4-BE49-F238E27FC236}">
                <a16:creationId xmlns:a16="http://schemas.microsoft.com/office/drawing/2014/main" id="{89EAACDC-2482-B9F5-9931-3EE65A43C915}"/>
              </a:ext>
            </a:extLst>
          </p:cNvPr>
          <p:cNvSpPr>
            <a:spLocks noGrp="1"/>
          </p:cNvSpPr>
          <p:nvPr>
            <p:ph type="body" sz="quarter" idx="14"/>
          </p:nvPr>
        </p:nvSpPr>
        <p:spPr>
          <a:xfrm>
            <a:off x="6572250" y="1382889"/>
            <a:ext cx="5126366" cy="336374"/>
          </a:xfrm>
        </p:spPr>
        <p:txBody>
          <a:bodyPr>
            <a:noAutofit/>
          </a:bodyPr>
          <a:lstStyle>
            <a:lvl1pPr marL="0" indent="0">
              <a:buNone/>
              <a:defRPr sz="2100">
                <a:solidFill>
                  <a:schemeClr val="bg1"/>
                </a:solidFill>
              </a:defRPr>
            </a:lvl1pPr>
          </a:lstStyle>
          <a:p>
            <a:pPr lvl="0"/>
            <a:r>
              <a:rPr lang="en-US"/>
              <a:t>Click to edit Master text styles</a:t>
            </a:r>
          </a:p>
        </p:txBody>
      </p:sp>
      <p:sp>
        <p:nvSpPr>
          <p:cNvPr id="13" name="Subtitle 2">
            <a:extLst>
              <a:ext uri="{FF2B5EF4-FFF2-40B4-BE49-F238E27FC236}">
                <a16:creationId xmlns:a16="http://schemas.microsoft.com/office/drawing/2014/main" id="{91A7B158-4678-4830-6566-C97CC666E487}"/>
              </a:ext>
            </a:extLst>
          </p:cNvPr>
          <p:cNvSpPr>
            <a:spLocks noGrp="1"/>
          </p:cNvSpPr>
          <p:nvPr>
            <p:ph type="subTitle" idx="1"/>
          </p:nvPr>
        </p:nvSpPr>
        <p:spPr>
          <a:xfrm>
            <a:off x="493714" y="1371600"/>
            <a:ext cx="5113896" cy="347663"/>
          </a:xfrm>
        </p:spPr>
        <p:txBody>
          <a:bodyPr>
            <a:noAutofit/>
          </a:bodyPr>
          <a:lstStyle>
            <a:lvl1pPr marL="0" indent="0" algn="l">
              <a:buNone/>
              <a:defRPr sz="21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1FACF739-09AA-5B53-99CA-886DA84E7C8E}"/>
              </a:ext>
            </a:extLst>
          </p:cNvPr>
          <p:cNvSpPr>
            <a:spLocks noGrp="1"/>
          </p:cNvSpPr>
          <p:nvPr>
            <p:ph type="body" sz="quarter" idx="16"/>
          </p:nvPr>
        </p:nvSpPr>
        <p:spPr>
          <a:xfrm>
            <a:off x="6572250" y="579439"/>
            <a:ext cx="5126365" cy="792162"/>
          </a:xfrm>
        </p:spPr>
        <p:txBody>
          <a:bodyPr anchor="b">
            <a:noAutofit/>
          </a:bodyPr>
          <a:lstStyle>
            <a:lvl1pPr marL="0" indent="0">
              <a:lnSpc>
                <a:spcPct val="85000"/>
              </a:lnSpc>
              <a:buNone/>
              <a:defRPr sz="3400">
                <a:solidFill>
                  <a:schemeClr val="accent2"/>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232DA366-8FF0-29B7-554C-22164CC79C18}"/>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30" name="Content Placeholder 18">
            <a:extLst>
              <a:ext uri="{FF2B5EF4-FFF2-40B4-BE49-F238E27FC236}">
                <a16:creationId xmlns:a16="http://schemas.microsoft.com/office/drawing/2014/main" id="{1F45315A-C967-E7DD-C442-6EA352332DDD}"/>
              </a:ext>
            </a:extLst>
          </p:cNvPr>
          <p:cNvSpPr>
            <a:spLocks noGrp="1"/>
          </p:cNvSpPr>
          <p:nvPr>
            <p:ph sz="quarter" idx="10"/>
          </p:nvPr>
        </p:nvSpPr>
        <p:spPr>
          <a:xfrm>
            <a:off x="493288" y="2397125"/>
            <a:ext cx="5124876" cy="37719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18">
            <a:extLst>
              <a:ext uri="{FF2B5EF4-FFF2-40B4-BE49-F238E27FC236}">
                <a16:creationId xmlns:a16="http://schemas.microsoft.com/office/drawing/2014/main" id="{9ED4AEB4-9EA6-CDDB-5599-29834D25B7CF}"/>
              </a:ext>
            </a:extLst>
          </p:cNvPr>
          <p:cNvSpPr>
            <a:spLocks noGrp="1"/>
          </p:cNvSpPr>
          <p:nvPr>
            <p:ph sz="quarter" idx="11"/>
          </p:nvPr>
        </p:nvSpPr>
        <p:spPr>
          <a:xfrm>
            <a:off x="6574140" y="2394727"/>
            <a:ext cx="5124475" cy="3771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2" name="Graphic 31">
            <a:extLst>
              <a:ext uri="{FF2B5EF4-FFF2-40B4-BE49-F238E27FC236}">
                <a16:creationId xmlns:a16="http://schemas.microsoft.com/office/drawing/2014/main" id="{0FC29F35-CB42-8207-EEB9-EB1395B3D507}"/>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32459752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mparison Split Black Lef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BD812B8-83BF-8AA5-9821-680835CFF508}"/>
              </a:ext>
            </a:extLst>
          </p:cNvPr>
          <p:cNvSpPr/>
          <p:nvPr/>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4" name="Title 1">
            <a:extLst>
              <a:ext uri="{FF2B5EF4-FFF2-40B4-BE49-F238E27FC236}">
                <a16:creationId xmlns:a16="http://schemas.microsoft.com/office/drawing/2014/main" id="{F03A6B59-1452-CCC2-312B-7DE441C696E7}"/>
              </a:ext>
            </a:extLst>
          </p:cNvPr>
          <p:cNvSpPr>
            <a:spLocks noGrp="1"/>
          </p:cNvSpPr>
          <p:nvPr>
            <p:ph type="title"/>
          </p:nvPr>
        </p:nvSpPr>
        <p:spPr>
          <a:xfrm>
            <a:off x="493714" y="579438"/>
            <a:ext cx="5113896" cy="792162"/>
          </a:xfrm>
        </p:spPr>
        <p:txBody>
          <a:bodyPr>
            <a:noAutofit/>
          </a:bodyPr>
          <a:lstStyle>
            <a:lvl1pPr>
              <a:lnSpc>
                <a:spcPct val="85000"/>
              </a:lnSpc>
              <a:defRPr>
                <a:solidFill>
                  <a:schemeClr val="accent2"/>
                </a:solidFill>
              </a:defRPr>
            </a:lvl1pPr>
          </a:lstStyle>
          <a:p>
            <a:r>
              <a:rPr lang="en-US"/>
              <a:t>Click to edit Master title style</a:t>
            </a:r>
          </a:p>
        </p:txBody>
      </p:sp>
      <p:sp>
        <p:nvSpPr>
          <p:cNvPr id="8" name="Text Placeholder 12">
            <a:extLst>
              <a:ext uri="{FF2B5EF4-FFF2-40B4-BE49-F238E27FC236}">
                <a16:creationId xmlns:a16="http://schemas.microsoft.com/office/drawing/2014/main" id="{89EAACDC-2482-B9F5-9931-3EE65A43C915}"/>
              </a:ext>
            </a:extLst>
          </p:cNvPr>
          <p:cNvSpPr>
            <a:spLocks noGrp="1"/>
          </p:cNvSpPr>
          <p:nvPr>
            <p:ph type="body" sz="quarter" idx="14"/>
          </p:nvPr>
        </p:nvSpPr>
        <p:spPr>
          <a:xfrm>
            <a:off x="6572250" y="1382889"/>
            <a:ext cx="5126366" cy="336374"/>
          </a:xfrm>
        </p:spPr>
        <p:txBody>
          <a:bodyPr>
            <a:noAutofit/>
          </a:bodyPr>
          <a:lstStyle>
            <a:lvl1pPr marL="0" indent="0">
              <a:buNone/>
              <a:defRPr sz="2100">
                <a:solidFill>
                  <a:schemeClr val="tx1"/>
                </a:solidFill>
              </a:defRPr>
            </a:lvl1pPr>
          </a:lstStyle>
          <a:p>
            <a:pPr lvl="0"/>
            <a:r>
              <a:rPr lang="en-US"/>
              <a:t>Click to edit Master text styles</a:t>
            </a:r>
          </a:p>
        </p:txBody>
      </p:sp>
      <p:sp>
        <p:nvSpPr>
          <p:cNvPr id="13" name="Subtitle 2">
            <a:extLst>
              <a:ext uri="{FF2B5EF4-FFF2-40B4-BE49-F238E27FC236}">
                <a16:creationId xmlns:a16="http://schemas.microsoft.com/office/drawing/2014/main" id="{91A7B158-4678-4830-6566-C97CC666E487}"/>
              </a:ext>
            </a:extLst>
          </p:cNvPr>
          <p:cNvSpPr>
            <a:spLocks noGrp="1"/>
          </p:cNvSpPr>
          <p:nvPr>
            <p:ph type="subTitle" idx="1"/>
          </p:nvPr>
        </p:nvSpPr>
        <p:spPr>
          <a:xfrm>
            <a:off x="493714" y="1371600"/>
            <a:ext cx="5113896" cy="347663"/>
          </a:xfrm>
        </p:spPr>
        <p:txBody>
          <a:bodyPr>
            <a:noAutofit/>
          </a:bodyPr>
          <a:lstStyle>
            <a:lvl1pPr marL="0" indent="0" algn="l">
              <a:buNone/>
              <a:defRPr sz="2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1FACF739-09AA-5B53-99CA-886DA84E7C8E}"/>
              </a:ext>
            </a:extLst>
          </p:cNvPr>
          <p:cNvSpPr>
            <a:spLocks noGrp="1"/>
          </p:cNvSpPr>
          <p:nvPr>
            <p:ph type="body" sz="quarter" idx="16"/>
          </p:nvPr>
        </p:nvSpPr>
        <p:spPr>
          <a:xfrm>
            <a:off x="6572250" y="579439"/>
            <a:ext cx="5126365" cy="792162"/>
          </a:xfrm>
        </p:spPr>
        <p:txBody>
          <a:bodyPr anchor="b">
            <a:noAutofit/>
          </a:bodyPr>
          <a:lstStyle>
            <a:lvl1pPr marL="0" indent="0">
              <a:lnSpc>
                <a:spcPct val="85000"/>
              </a:lnSpc>
              <a:buNone/>
              <a:defRPr sz="3400">
                <a:solidFill>
                  <a:schemeClr val="tx1"/>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232DA366-8FF0-29B7-554C-22164CC79C18}"/>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bg1"/>
                </a:solidFill>
              </a:defRPr>
            </a:lvl1pPr>
          </a:lstStyle>
          <a:p>
            <a:endParaRPr lang="en-US"/>
          </a:p>
        </p:txBody>
      </p:sp>
      <p:sp>
        <p:nvSpPr>
          <p:cNvPr id="5" name="Content Placeholder 18">
            <a:extLst>
              <a:ext uri="{FF2B5EF4-FFF2-40B4-BE49-F238E27FC236}">
                <a16:creationId xmlns:a16="http://schemas.microsoft.com/office/drawing/2014/main" id="{CE6B2438-60C2-843A-B95D-BA0BE15F2F53}"/>
              </a:ext>
            </a:extLst>
          </p:cNvPr>
          <p:cNvSpPr>
            <a:spLocks noGrp="1"/>
          </p:cNvSpPr>
          <p:nvPr>
            <p:ph sz="quarter" idx="10"/>
          </p:nvPr>
        </p:nvSpPr>
        <p:spPr>
          <a:xfrm>
            <a:off x="493288" y="2397125"/>
            <a:ext cx="5124876" cy="3771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18">
            <a:extLst>
              <a:ext uri="{FF2B5EF4-FFF2-40B4-BE49-F238E27FC236}">
                <a16:creationId xmlns:a16="http://schemas.microsoft.com/office/drawing/2014/main" id="{C63D5B78-F4F6-C1E3-9303-A45D48E5F9BC}"/>
              </a:ext>
            </a:extLst>
          </p:cNvPr>
          <p:cNvSpPr>
            <a:spLocks noGrp="1"/>
          </p:cNvSpPr>
          <p:nvPr>
            <p:ph sz="quarter" idx="11"/>
          </p:nvPr>
        </p:nvSpPr>
        <p:spPr>
          <a:xfrm>
            <a:off x="6574140" y="2394727"/>
            <a:ext cx="5124475" cy="37719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9F6F3BAF-0EF8-B827-F71A-69D9A9884016}"/>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3 Veeam Software. Confidential information. All rights reserved. All trademarks are the property of their respective owners. </a:t>
            </a:r>
          </a:p>
        </p:txBody>
      </p:sp>
    </p:spTree>
    <p:extLst>
      <p:ext uri="{BB962C8B-B14F-4D97-AF65-F5344CB8AC3E}">
        <p14:creationId xmlns:p14="http://schemas.microsoft.com/office/powerpoint/2010/main" val="13251072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mparison Viridis Righ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a:off x="609600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6C868D3-3CB4-CA57-1298-79B08D03F887}"/>
              </a:ext>
            </a:extLst>
          </p:cNvPr>
          <p:cNvSpPr>
            <a:spLocks noGrp="1"/>
          </p:cNvSpPr>
          <p:nvPr>
            <p:ph type="title" hasCustomPrompt="1"/>
          </p:nvPr>
        </p:nvSpPr>
        <p:spPr>
          <a:xfrm>
            <a:off x="493714" y="579438"/>
            <a:ext cx="5113896" cy="792162"/>
          </a:xfrm>
        </p:spPr>
        <p:txBody>
          <a:bodyPr>
            <a:noAutofit/>
          </a:bodyPr>
          <a:lstStyle>
            <a:lvl1pPr>
              <a:lnSpc>
                <a:spcPct val="85000"/>
              </a:lnSpc>
              <a:defRPr/>
            </a:lvl1pPr>
          </a:lstStyle>
          <a:p>
            <a:r>
              <a:rPr lang="en-US"/>
              <a:t>Click to edit Master title styles</a:t>
            </a:r>
          </a:p>
        </p:txBody>
      </p:sp>
      <p:sp>
        <p:nvSpPr>
          <p:cNvPr id="8" name="Text Placeholder 12">
            <a:extLst>
              <a:ext uri="{FF2B5EF4-FFF2-40B4-BE49-F238E27FC236}">
                <a16:creationId xmlns:a16="http://schemas.microsoft.com/office/drawing/2014/main" id="{B497F9D7-E2AC-7870-3158-7F4230738F85}"/>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bg1"/>
                </a:solidFill>
                <a:latin typeface="ES Build "/>
              </a:defRPr>
            </a:lvl1pPr>
          </a:lstStyle>
          <a:p>
            <a:pPr lvl="0"/>
            <a:r>
              <a:rPr lang="en-US"/>
              <a:t>Click to edit Master text styles</a:t>
            </a:r>
          </a:p>
        </p:txBody>
      </p:sp>
      <p:sp>
        <p:nvSpPr>
          <p:cNvPr id="14" name="Subtitle 2">
            <a:extLst>
              <a:ext uri="{FF2B5EF4-FFF2-40B4-BE49-F238E27FC236}">
                <a16:creationId xmlns:a16="http://schemas.microsoft.com/office/drawing/2014/main" id="{C1BB7623-8B6B-7FAE-D44D-F4B85D496BA7}"/>
              </a:ext>
            </a:extLst>
          </p:cNvPr>
          <p:cNvSpPr>
            <a:spLocks noGrp="1"/>
          </p:cNvSpPr>
          <p:nvPr>
            <p:ph type="subTitle" idx="1"/>
          </p:nvPr>
        </p:nvSpPr>
        <p:spPr>
          <a:xfrm>
            <a:off x="493714" y="1371600"/>
            <a:ext cx="5113896" cy="347663"/>
          </a:xfrm>
        </p:spPr>
        <p:txBody>
          <a:bodyPr>
            <a:noAutofit/>
          </a:bodyPr>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A0EBF732-219E-4BB3-835A-6CCA099AC824}"/>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bg1"/>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06EF6F84-75A1-3DAF-4249-ADE266B638E1}"/>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tx2"/>
                </a:solidFill>
              </a:defRPr>
            </a:lvl1pPr>
          </a:lstStyle>
          <a:p>
            <a:endParaRPr lang="en-US"/>
          </a:p>
        </p:txBody>
      </p:sp>
      <p:pic>
        <p:nvPicPr>
          <p:cNvPr id="24" name="Graphic 23">
            <a:extLst>
              <a:ext uri="{FF2B5EF4-FFF2-40B4-BE49-F238E27FC236}">
                <a16:creationId xmlns:a16="http://schemas.microsoft.com/office/drawing/2014/main" id="{4188B8B1-28A5-575D-B156-85CA6779A26B}"/>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
        <p:nvSpPr>
          <p:cNvPr id="3" name="Content Placeholder 18">
            <a:extLst>
              <a:ext uri="{FF2B5EF4-FFF2-40B4-BE49-F238E27FC236}">
                <a16:creationId xmlns:a16="http://schemas.microsoft.com/office/drawing/2014/main" id="{F7DB894A-EDB5-8F01-3414-F5F32559B7BD}"/>
              </a:ext>
            </a:extLst>
          </p:cNvPr>
          <p:cNvSpPr>
            <a:spLocks noGrp="1"/>
          </p:cNvSpPr>
          <p:nvPr>
            <p:ph sz="quarter" idx="10"/>
          </p:nvPr>
        </p:nvSpPr>
        <p:spPr>
          <a:xfrm>
            <a:off x="493288" y="2397125"/>
            <a:ext cx="5124876"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18">
            <a:extLst>
              <a:ext uri="{FF2B5EF4-FFF2-40B4-BE49-F238E27FC236}">
                <a16:creationId xmlns:a16="http://schemas.microsoft.com/office/drawing/2014/main" id="{5D37798F-2B52-F99B-1040-0FA9E34A0C7B}"/>
              </a:ext>
            </a:extLst>
          </p:cNvPr>
          <p:cNvSpPr>
            <a:spLocks noGrp="1"/>
          </p:cNvSpPr>
          <p:nvPr>
            <p:ph sz="quarter" idx="11"/>
          </p:nvPr>
        </p:nvSpPr>
        <p:spPr>
          <a:xfrm>
            <a:off x="6574140" y="2394727"/>
            <a:ext cx="5124475" cy="3771900"/>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08231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mparison Viridis Lef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flipH="1">
            <a:off x="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6C868D3-3CB4-CA57-1298-79B08D03F887}"/>
              </a:ext>
            </a:extLst>
          </p:cNvPr>
          <p:cNvSpPr>
            <a:spLocks noGrp="1"/>
          </p:cNvSpPr>
          <p:nvPr>
            <p:ph type="title"/>
          </p:nvPr>
        </p:nvSpPr>
        <p:spPr>
          <a:xfrm>
            <a:off x="493714" y="579438"/>
            <a:ext cx="5113896" cy="792162"/>
          </a:xfrm>
        </p:spPr>
        <p:txBody>
          <a:bodyPr anchor="t">
            <a:noAutofit/>
          </a:bodyPr>
          <a:lstStyle>
            <a:lvl1pPr>
              <a:lnSpc>
                <a:spcPct val="85000"/>
              </a:lnSpc>
              <a:defRPr>
                <a:solidFill>
                  <a:schemeClr val="bg1"/>
                </a:solidFill>
              </a:defRPr>
            </a:lvl1pPr>
          </a:lstStyle>
          <a:p>
            <a:r>
              <a:rPr lang="en-US"/>
              <a:t>Click to edit Master title style</a:t>
            </a:r>
          </a:p>
        </p:txBody>
      </p:sp>
      <p:sp>
        <p:nvSpPr>
          <p:cNvPr id="8" name="Text Placeholder 12">
            <a:extLst>
              <a:ext uri="{FF2B5EF4-FFF2-40B4-BE49-F238E27FC236}">
                <a16:creationId xmlns:a16="http://schemas.microsoft.com/office/drawing/2014/main" id="{B497F9D7-E2AC-7870-3158-7F4230738F85}"/>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tx1"/>
                </a:solidFill>
                <a:latin typeface="ES Build ("/>
              </a:defRPr>
            </a:lvl1pPr>
          </a:lstStyle>
          <a:p>
            <a:pPr lvl="0"/>
            <a:r>
              <a:rPr lang="en-US"/>
              <a:t>Click to edit Master text styles</a:t>
            </a:r>
          </a:p>
        </p:txBody>
      </p:sp>
      <p:sp>
        <p:nvSpPr>
          <p:cNvPr id="14" name="Subtitle 2">
            <a:extLst>
              <a:ext uri="{FF2B5EF4-FFF2-40B4-BE49-F238E27FC236}">
                <a16:creationId xmlns:a16="http://schemas.microsoft.com/office/drawing/2014/main" id="{C1BB7623-8B6B-7FAE-D44D-F4B85D496BA7}"/>
              </a:ext>
            </a:extLst>
          </p:cNvPr>
          <p:cNvSpPr>
            <a:spLocks noGrp="1"/>
          </p:cNvSpPr>
          <p:nvPr>
            <p:ph type="subTitle" idx="1"/>
          </p:nvPr>
        </p:nvSpPr>
        <p:spPr>
          <a:xfrm>
            <a:off x="493714" y="1371600"/>
            <a:ext cx="5113896" cy="347663"/>
          </a:xfrm>
        </p:spPr>
        <p:txBody>
          <a:bodyPr anchor="t">
            <a:noAutofit/>
          </a:bodyPr>
          <a:lstStyle>
            <a:lvl1pPr marL="0" indent="0" algn="l">
              <a:buNone/>
              <a:defRPr sz="2100">
                <a:solidFill>
                  <a:schemeClr val="bg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A0EBF732-219E-4BB3-835A-6CCA099AC824}"/>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tx1"/>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06EF6F84-75A1-3DAF-4249-ADE266B638E1}"/>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bg1"/>
                </a:solidFill>
              </a:defRPr>
            </a:lvl1pPr>
          </a:lstStyle>
          <a:p>
            <a:endParaRPr lang="en-US"/>
          </a:p>
        </p:txBody>
      </p:sp>
      <p:sp>
        <p:nvSpPr>
          <p:cNvPr id="5" name="Content Placeholder 18">
            <a:extLst>
              <a:ext uri="{FF2B5EF4-FFF2-40B4-BE49-F238E27FC236}">
                <a16:creationId xmlns:a16="http://schemas.microsoft.com/office/drawing/2014/main" id="{55F03A55-5898-6CE3-3BF1-81E0262A480E}"/>
              </a:ext>
            </a:extLst>
          </p:cNvPr>
          <p:cNvSpPr>
            <a:spLocks noGrp="1"/>
          </p:cNvSpPr>
          <p:nvPr>
            <p:ph sz="quarter" idx="10"/>
          </p:nvPr>
        </p:nvSpPr>
        <p:spPr>
          <a:xfrm>
            <a:off x="493288" y="2397125"/>
            <a:ext cx="5124876" cy="3771900"/>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18">
            <a:extLst>
              <a:ext uri="{FF2B5EF4-FFF2-40B4-BE49-F238E27FC236}">
                <a16:creationId xmlns:a16="http://schemas.microsoft.com/office/drawing/2014/main" id="{3368A297-5329-BE3C-C5BC-AB8BA372379C}"/>
              </a:ext>
            </a:extLst>
          </p:cNvPr>
          <p:cNvSpPr>
            <a:spLocks noGrp="1"/>
          </p:cNvSpPr>
          <p:nvPr>
            <p:ph sz="quarter" idx="11"/>
          </p:nvPr>
        </p:nvSpPr>
        <p:spPr>
          <a:xfrm>
            <a:off x="6574140" y="2394727"/>
            <a:ext cx="5124475"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D0D39121-E546-6ABA-63FC-510C53D4976E}"/>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40263634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mparison Sky Righ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a:off x="609600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itle 1">
            <a:extLst>
              <a:ext uri="{FF2B5EF4-FFF2-40B4-BE49-F238E27FC236}">
                <a16:creationId xmlns:a16="http://schemas.microsoft.com/office/drawing/2014/main" id="{012294CE-1368-BF63-28B5-C8EE4BCAFDFA}"/>
              </a:ext>
            </a:extLst>
          </p:cNvPr>
          <p:cNvSpPr>
            <a:spLocks noGrp="1"/>
          </p:cNvSpPr>
          <p:nvPr>
            <p:ph type="title"/>
          </p:nvPr>
        </p:nvSpPr>
        <p:spPr>
          <a:xfrm>
            <a:off x="493714" y="579438"/>
            <a:ext cx="5113896" cy="792162"/>
          </a:xfrm>
        </p:spPr>
        <p:txBody>
          <a:bodyPr anchor="t">
            <a:noAutofit/>
          </a:bodyPr>
          <a:lstStyle>
            <a:lvl1pPr>
              <a:lnSpc>
                <a:spcPct val="85000"/>
              </a:lnSpc>
              <a:defRPr/>
            </a:lvl1pPr>
          </a:lstStyle>
          <a:p>
            <a:r>
              <a:rPr lang="en-US"/>
              <a:t>Click to edit Master title style</a:t>
            </a:r>
          </a:p>
        </p:txBody>
      </p:sp>
      <p:sp>
        <p:nvSpPr>
          <p:cNvPr id="11" name="Text Placeholder 12">
            <a:extLst>
              <a:ext uri="{FF2B5EF4-FFF2-40B4-BE49-F238E27FC236}">
                <a16:creationId xmlns:a16="http://schemas.microsoft.com/office/drawing/2014/main" id="{7830E2A7-C8EE-61A4-A592-4A9C6E3D0B55}"/>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bg1"/>
                </a:solidFill>
                <a:latin typeface="ES Build "/>
              </a:defRPr>
            </a:lvl1pPr>
          </a:lstStyle>
          <a:p>
            <a:pPr lvl="0"/>
            <a:r>
              <a:rPr lang="en-US"/>
              <a:t>Click to edit Master text styles</a:t>
            </a:r>
          </a:p>
        </p:txBody>
      </p:sp>
      <p:sp>
        <p:nvSpPr>
          <p:cNvPr id="14" name="Subtitle 2">
            <a:extLst>
              <a:ext uri="{FF2B5EF4-FFF2-40B4-BE49-F238E27FC236}">
                <a16:creationId xmlns:a16="http://schemas.microsoft.com/office/drawing/2014/main" id="{35BE395E-9385-3B06-C680-B8E8D2310E82}"/>
              </a:ext>
            </a:extLst>
          </p:cNvPr>
          <p:cNvSpPr>
            <a:spLocks noGrp="1"/>
          </p:cNvSpPr>
          <p:nvPr>
            <p:ph type="subTitle" idx="1"/>
          </p:nvPr>
        </p:nvSpPr>
        <p:spPr>
          <a:xfrm>
            <a:off x="493714" y="1371600"/>
            <a:ext cx="5113896" cy="347663"/>
          </a:xfrm>
        </p:spPr>
        <p:txBody>
          <a:bodyPr anchor="t">
            <a:noAutofit/>
          </a:bodyPr>
          <a:lstStyle>
            <a:lvl1pPr marL="0" indent="0" algn="l">
              <a:buNone/>
              <a:defRPr sz="21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9639A052-9E04-CDDA-0ACE-A40FF9BC5EAF}"/>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bg1"/>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A64D20B8-8B2F-AAA6-BEBC-31122038D8DB}"/>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2" name="Content Placeholder 18">
            <a:extLst>
              <a:ext uri="{FF2B5EF4-FFF2-40B4-BE49-F238E27FC236}">
                <a16:creationId xmlns:a16="http://schemas.microsoft.com/office/drawing/2014/main" id="{A6940E88-647A-45CE-8088-D6C7C350228A}"/>
              </a:ext>
            </a:extLst>
          </p:cNvPr>
          <p:cNvSpPr>
            <a:spLocks noGrp="1"/>
          </p:cNvSpPr>
          <p:nvPr>
            <p:ph sz="quarter" idx="10"/>
          </p:nvPr>
        </p:nvSpPr>
        <p:spPr>
          <a:xfrm>
            <a:off x="493288" y="2397125"/>
            <a:ext cx="5124876"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18">
            <a:extLst>
              <a:ext uri="{FF2B5EF4-FFF2-40B4-BE49-F238E27FC236}">
                <a16:creationId xmlns:a16="http://schemas.microsoft.com/office/drawing/2014/main" id="{A3D652E3-FD2B-9AC7-6022-BD78A2BF0B52}"/>
              </a:ext>
            </a:extLst>
          </p:cNvPr>
          <p:cNvSpPr>
            <a:spLocks noGrp="1"/>
          </p:cNvSpPr>
          <p:nvPr>
            <p:ph sz="quarter" idx="11"/>
          </p:nvPr>
        </p:nvSpPr>
        <p:spPr>
          <a:xfrm>
            <a:off x="6574140" y="2394727"/>
            <a:ext cx="5124475" cy="3771900"/>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F59D6CA1-A7A3-FA76-75AD-90AB5AD34B22}"/>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1570487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mparison Sky Lef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flipH="1">
            <a:off x="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itle 1">
            <a:extLst>
              <a:ext uri="{FF2B5EF4-FFF2-40B4-BE49-F238E27FC236}">
                <a16:creationId xmlns:a16="http://schemas.microsoft.com/office/drawing/2014/main" id="{012294CE-1368-BF63-28B5-C8EE4BCAFDFA}"/>
              </a:ext>
            </a:extLst>
          </p:cNvPr>
          <p:cNvSpPr>
            <a:spLocks noGrp="1"/>
          </p:cNvSpPr>
          <p:nvPr>
            <p:ph type="title"/>
          </p:nvPr>
        </p:nvSpPr>
        <p:spPr>
          <a:xfrm>
            <a:off x="493714" y="579438"/>
            <a:ext cx="5113896" cy="792162"/>
          </a:xfrm>
        </p:spPr>
        <p:txBody>
          <a:bodyPr anchor="t">
            <a:noAutofit/>
          </a:bodyPr>
          <a:lstStyle>
            <a:lvl1pPr>
              <a:lnSpc>
                <a:spcPct val="85000"/>
              </a:lnSpc>
              <a:defRPr>
                <a:solidFill>
                  <a:schemeClr val="bg1"/>
                </a:solidFill>
              </a:defRPr>
            </a:lvl1pPr>
          </a:lstStyle>
          <a:p>
            <a:r>
              <a:rPr lang="en-US"/>
              <a:t>Click to edit Master title style</a:t>
            </a:r>
          </a:p>
        </p:txBody>
      </p:sp>
      <p:sp>
        <p:nvSpPr>
          <p:cNvPr id="11" name="Text Placeholder 12">
            <a:extLst>
              <a:ext uri="{FF2B5EF4-FFF2-40B4-BE49-F238E27FC236}">
                <a16:creationId xmlns:a16="http://schemas.microsoft.com/office/drawing/2014/main" id="{7830E2A7-C8EE-61A4-A592-4A9C6E3D0B55}"/>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tx1"/>
                </a:solidFill>
                <a:latin typeface="ES Build "/>
              </a:defRPr>
            </a:lvl1pPr>
          </a:lstStyle>
          <a:p>
            <a:pPr lvl="0"/>
            <a:r>
              <a:rPr lang="en-US"/>
              <a:t>Click to edit Master text styles</a:t>
            </a:r>
          </a:p>
        </p:txBody>
      </p:sp>
      <p:sp>
        <p:nvSpPr>
          <p:cNvPr id="14" name="Subtitle 2">
            <a:extLst>
              <a:ext uri="{FF2B5EF4-FFF2-40B4-BE49-F238E27FC236}">
                <a16:creationId xmlns:a16="http://schemas.microsoft.com/office/drawing/2014/main" id="{35BE395E-9385-3B06-C680-B8E8D2310E82}"/>
              </a:ext>
            </a:extLst>
          </p:cNvPr>
          <p:cNvSpPr>
            <a:spLocks noGrp="1"/>
          </p:cNvSpPr>
          <p:nvPr>
            <p:ph type="subTitle" idx="1"/>
          </p:nvPr>
        </p:nvSpPr>
        <p:spPr>
          <a:xfrm>
            <a:off x="493714" y="1371600"/>
            <a:ext cx="5113896" cy="347663"/>
          </a:xfrm>
        </p:spPr>
        <p:txBody>
          <a:bodyPr anchor="t">
            <a:noAutofit/>
          </a:bodyPr>
          <a:lstStyle>
            <a:lvl1pPr marL="0" indent="0" algn="l">
              <a:buNone/>
              <a:defRPr sz="2100">
                <a:solidFill>
                  <a:schemeClr val="bg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9639A052-9E04-CDDA-0ACE-A40FF9BC5EAF}"/>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tx1"/>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A64D20B8-8B2F-AAA6-BEBC-31122038D8DB}"/>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bg1"/>
                </a:solidFill>
              </a:defRPr>
            </a:lvl1pPr>
          </a:lstStyle>
          <a:p>
            <a:endParaRPr lang="en-US"/>
          </a:p>
        </p:txBody>
      </p:sp>
      <p:sp>
        <p:nvSpPr>
          <p:cNvPr id="5" name="Content Placeholder 18">
            <a:extLst>
              <a:ext uri="{FF2B5EF4-FFF2-40B4-BE49-F238E27FC236}">
                <a16:creationId xmlns:a16="http://schemas.microsoft.com/office/drawing/2014/main" id="{6735DCC0-BDFA-E189-82A7-CEDFC1F7AF1A}"/>
              </a:ext>
            </a:extLst>
          </p:cNvPr>
          <p:cNvSpPr>
            <a:spLocks noGrp="1"/>
          </p:cNvSpPr>
          <p:nvPr>
            <p:ph sz="quarter" idx="10"/>
          </p:nvPr>
        </p:nvSpPr>
        <p:spPr>
          <a:xfrm>
            <a:off x="493288" y="2397125"/>
            <a:ext cx="5124876" cy="3771900"/>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18">
            <a:extLst>
              <a:ext uri="{FF2B5EF4-FFF2-40B4-BE49-F238E27FC236}">
                <a16:creationId xmlns:a16="http://schemas.microsoft.com/office/drawing/2014/main" id="{9B7562FB-A9B5-0AA2-8AF5-9DCE7D26D1E7}"/>
              </a:ext>
            </a:extLst>
          </p:cNvPr>
          <p:cNvSpPr>
            <a:spLocks noGrp="1"/>
          </p:cNvSpPr>
          <p:nvPr>
            <p:ph sz="quarter" idx="11"/>
          </p:nvPr>
        </p:nvSpPr>
        <p:spPr>
          <a:xfrm>
            <a:off x="6574140" y="2394727"/>
            <a:ext cx="5124475"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3F47BEF9-D57D-3F07-2F39-7F5470506193}"/>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30728987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mparison Casia Righ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a:off x="609600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rgbClr val="8E71F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Title 1">
            <a:extLst>
              <a:ext uri="{FF2B5EF4-FFF2-40B4-BE49-F238E27FC236}">
                <a16:creationId xmlns:a16="http://schemas.microsoft.com/office/drawing/2014/main" id="{1A491785-6F57-E13E-C4A7-A9AD6FFD4437}"/>
              </a:ext>
            </a:extLst>
          </p:cNvPr>
          <p:cNvSpPr>
            <a:spLocks noGrp="1"/>
          </p:cNvSpPr>
          <p:nvPr>
            <p:ph type="title"/>
          </p:nvPr>
        </p:nvSpPr>
        <p:spPr>
          <a:xfrm>
            <a:off x="493714" y="579438"/>
            <a:ext cx="5113896" cy="792162"/>
          </a:xfrm>
        </p:spPr>
        <p:txBody>
          <a:bodyPr anchor="t">
            <a:noAutofit/>
          </a:bodyPr>
          <a:lstStyle>
            <a:lvl1pPr>
              <a:lnSpc>
                <a:spcPct val="85000"/>
              </a:lnSpc>
              <a:defRPr/>
            </a:lvl1pPr>
          </a:lstStyle>
          <a:p>
            <a:r>
              <a:rPr lang="en-US"/>
              <a:t>Click to edit Master title style</a:t>
            </a:r>
          </a:p>
        </p:txBody>
      </p:sp>
      <p:sp>
        <p:nvSpPr>
          <p:cNvPr id="11" name="Text Placeholder 12">
            <a:extLst>
              <a:ext uri="{FF2B5EF4-FFF2-40B4-BE49-F238E27FC236}">
                <a16:creationId xmlns:a16="http://schemas.microsoft.com/office/drawing/2014/main" id="{D8B2789D-2F50-D72A-8229-CAE0C730F666}"/>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bg1"/>
                </a:solidFill>
                <a:latin typeface="ES Build "/>
              </a:defRPr>
            </a:lvl1pPr>
          </a:lstStyle>
          <a:p>
            <a:pPr lvl="0"/>
            <a:r>
              <a:rPr lang="en-US"/>
              <a:t>Click to edit Master text styles</a:t>
            </a:r>
          </a:p>
        </p:txBody>
      </p:sp>
      <p:sp>
        <p:nvSpPr>
          <p:cNvPr id="14" name="Subtitle 2">
            <a:extLst>
              <a:ext uri="{FF2B5EF4-FFF2-40B4-BE49-F238E27FC236}">
                <a16:creationId xmlns:a16="http://schemas.microsoft.com/office/drawing/2014/main" id="{8CBAEA92-7477-E04A-CD5D-66402974327D}"/>
              </a:ext>
            </a:extLst>
          </p:cNvPr>
          <p:cNvSpPr>
            <a:spLocks noGrp="1"/>
          </p:cNvSpPr>
          <p:nvPr>
            <p:ph type="subTitle" idx="1"/>
          </p:nvPr>
        </p:nvSpPr>
        <p:spPr>
          <a:xfrm>
            <a:off x="493714" y="1371600"/>
            <a:ext cx="5113896" cy="347663"/>
          </a:xfrm>
        </p:spPr>
        <p:txBody>
          <a:bodyPr anchor="t">
            <a:noAutofit/>
          </a:bodyPr>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34E41C82-70F8-4AFF-FDEC-3AA38C0B794F}"/>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bg1"/>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7C55B1E5-0112-9125-02B5-998F8C45A153}"/>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2" name="Content Placeholder 18">
            <a:extLst>
              <a:ext uri="{FF2B5EF4-FFF2-40B4-BE49-F238E27FC236}">
                <a16:creationId xmlns:a16="http://schemas.microsoft.com/office/drawing/2014/main" id="{FF37D647-62F1-024B-07D9-8DBAD2392F57}"/>
              </a:ext>
            </a:extLst>
          </p:cNvPr>
          <p:cNvSpPr>
            <a:spLocks noGrp="1"/>
          </p:cNvSpPr>
          <p:nvPr>
            <p:ph sz="quarter" idx="10"/>
          </p:nvPr>
        </p:nvSpPr>
        <p:spPr>
          <a:xfrm>
            <a:off x="493288" y="2397125"/>
            <a:ext cx="5124876"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8">
            <a:extLst>
              <a:ext uri="{FF2B5EF4-FFF2-40B4-BE49-F238E27FC236}">
                <a16:creationId xmlns:a16="http://schemas.microsoft.com/office/drawing/2014/main" id="{B7CB7762-181F-D4B2-7B20-F7D6955DC1B4}"/>
              </a:ext>
            </a:extLst>
          </p:cNvPr>
          <p:cNvSpPr>
            <a:spLocks noGrp="1"/>
          </p:cNvSpPr>
          <p:nvPr>
            <p:ph sz="quarter" idx="11"/>
          </p:nvPr>
        </p:nvSpPr>
        <p:spPr>
          <a:xfrm>
            <a:off x="6574140" y="2394727"/>
            <a:ext cx="5124475" cy="3771900"/>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phic 3">
            <a:extLst>
              <a:ext uri="{FF2B5EF4-FFF2-40B4-BE49-F238E27FC236}">
                <a16:creationId xmlns:a16="http://schemas.microsoft.com/office/drawing/2014/main" id="{DB4B41DA-6D67-E315-71AF-0A1BDAD0D403}"/>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11382850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mparison Casia Lef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flipH="1">
            <a:off x="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rgbClr val="8E71F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Title 1">
            <a:extLst>
              <a:ext uri="{FF2B5EF4-FFF2-40B4-BE49-F238E27FC236}">
                <a16:creationId xmlns:a16="http://schemas.microsoft.com/office/drawing/2014/main" id="{1A491785-6F57-E13E-C4A7-A9AD6FFD4437}"/>
              </a:ext>
            </a:extLst>
          </p:cNvPr>
          <p:cNvSpPr>
            <a:spLocks noGrp="1"/>
          </p:cNvSpPr>
          <p:nvPr>
            <p:ph type="title"/>
          </p:nvPr>
        </p:nvSpPr>
        <p:spPr>
          <a:xfrm>
            <a:off x="493714" y="579438"/>
            <a:ext cx="5113896" cy="792162"/>
          </a:xfrm>
        </p:spPr>
        <p:txBody>
          <a:bodyPr anchor="t">
            <a:noAutofit/>
          </a:bodyPr>
          <a:lstStyle>
            <a:lvl1pPr>
              <a:lnSpc>
                <a:spcPct val="85000"/>
              </a:lnSpc>
              <a:defRPr>
                <a:solidFill>
                  <a:schemeClr val="bg1"/>
                </a:solidFill>
              </a:defRPr>
            </a:lvl1pPr>
          </a:lstStyle>
          <a:p>
            <a:r>
              <a:rPr lang="en-US"/>
              <a:t>Click to edit Master title style</a:t>
            </a:r>
          </a:p>
        </p:txBody>
      </p:sp>
      <p:sp>
        <p:nvSpPr>
          <p:cNvPr id="11" name="Text Placeholder 12">
            <a:extLst>
              <a:ext uri="{FF2B5EF4-FFF2-40B4-BE49-F238E27FC236}">
                <a16:creationId xmlns:a16="http://schemas.microsoft.com/office/drawing/2014/main" id="{D8B2789D-2F50-D72A-8229-CAE0C730F666}"/>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tx1"/>
                </a:solidFill>
                <a:latin typeface="ES Build "/>
              </a:defRPr>
            </a:lvl1pPr>
          </a:lstStyle>
          <a:p>
            <a:pPr lvl="0"/>
            <a:r>
              <a:rPr lang="en-US"/>
              <a:t>Click to edit Master text styles</a:t>
            </a:r>
          </a:p>
        </p:txBody>
      </p:sp>
      <p:sp>
        <p:nvSpPr>
          <p:cNvPr id="14" name="Subtitle 2">
            <a:extLst>
              <a:ext uri="{FF2B5EF4-FFF2-40B4-BE49-F238E27FC236}">
                <a16:creationId xmlns:a16="http://schemas.microsoft.com/office/drawing/2014/main" id="{8CBAEA92-7477-E04A-CD5D-66402974327D}"/>
              </a:ext>
            </a:extLst>
          </p:cNvPr>
          <p:cNvSpPr>
            <a:spLocks noGrp="1"/>
          </p:cNvSpPr>
          <p:nvPr>
            <p:ph type="subTitle" idx="1"/>
          </p:nvPr>
        </p:nvSpPr>
        <p:spPr>
          <a:xfrm>
            <a:off x="493714" y="1371600"/>
            <a:ext cx="5113896" cy="347663"/>
          </a:xfrm>
        </p:spPr>
        <p:txBody>
          <a:bodyPr anchor="t">
            <a:noAutofit/>
          </a:bodyPr>
          <a:lstStyle>
            <a:lvl1pPr marL="0" indent="0" algn="l">
              <a:buNone/>
              <a:defRPr sz="2100">
                <a:solidFill>
                  <a:schemeClr val="bg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34E41C82-70F8-4AFF-FDEC-3AA38C0B794F}"/>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tx1"/>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7C55B1E5-0112-9125-02B5-998F8C45A153}"/>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bg1"/>
                </a:solidFill>
              </a:defRPr>
            </a:lvl1pPr>
          </a:lstStyle>
          <a:p>
            <a:endParaRPr lang="en-US"/>
          </a:p>
        </p:txBody>
      </p:sp>
      <p:sp>
        <p:nvSpPr>
          <p:cNvPr id="2" name="TextBox 1">
            <a:extLst>
              <a:ext uri="{FF2B5EF4-FFF2-40B4-BE49-F238E27FC236}">
                <a16:creationId xmlns:a16="http://schemas.microsoft.com/office/drawing/2014/main" id="{8454D21C-2C46-70F2-3FBF-97F25ECB8680}"/>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
        <p:nvSpPr>
          <p:cNvPr id="3" name="Content Placeholder 18">
            <a:extLst>
              <a:ext uri="{FF2B5EF4-FFF2-40B4-BE49-F238E27FC236}">
                <a16:creationId xmlns:a16="http://schemas.microsoft.com/office/drawing/2014/main" id="{944D7E10-9F5C-BF3B-3354-EA8AE045538E}"/>
              </a:ext>
            </a:extLst>
          </p:cNvPr>
          <p:cNvSpPr>
            <a:spLocks noGrp="1"/>
          </p:cNvSpPr>
          <p:nvPr>
            <p:ph sz="quarter" idx="10"/>
          </p:nvPr>
        </p:nvSpPr>
        <p:spPr>
          <a:xfrm>
            <a:off x="493288" y="2397125"/>
            <a:ext cx="5124876" cy="3771900"/>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18">
            <a:extLst>
              <a:ext uri="{FF2B5EF4-FFF2-40B4-BE49-F238E27FC236}">
                <a16:creationId xmlns:a16="http://schemas.microsoft.com/office/drawing/2014/main" id="{FB92400D-2194-A0DD-85DB-36AE2DE042B3}"/>
              </a:ext>
            </a:extLst>
          </p:cNvPr>
          <p:cNvSpPr>
            <a:spLocks noGrp="1"/>
          </p:cNvSpPr>
          <p:nvPr>
            <p:ph sz="quarter" idx="11"/>
          </p:nvPr>
        </p:nvSpPr>
        <p:spPr>
          <a:xfrm>
            <a:off x="6574140" y="2394727"/>
            <a:ext cx="5124475"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32074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Viridis Gradient">
    <p:bg>
      <p:bgPr>
        <a:solidFill>
          <a:schemeClr val="bg1"/>
        </a:solidFill>
        <a:effectLst/>
      </p:bgPr>
    </p:bg>
    <p:spTree>
      <p:nvGrpSpPr>
        <p:cNvPr id="1" name=""/>
        <p:cNvGrpSpPr/>
        <p:nvPr/>
      </p:nvGrpSpPr>
      <p:grpSpPr>
        <a:xfrm>
          <a:off x="0" y="0"/>
          <a:ext cx="0" cy="0"/>
          <a:chOff x="0" y="0"/>
          <a:chExt cx="0" cy="0"/>
        </a:xfrm>
      </p:grpSpPr>
      <p:pic>
        <p:nvPicPr>
          <p:cNvPr id="17" name="Picture 16" descr="A green and white background&#10;&#10;Description automatically generated">
            <a:extLst>
              <a:ext uri="{FF2B5EF4-FFF2-40B4-BE49-F238E27FC236}">
                <a16:creationId xmlns:a16="http://schemas.microsoft.com/office/drawing/2014/main" id="{D9D8ABDB-B374-C08D-1423-39142E878E3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974"/>
            <a:ext cx="6094100" cy="6856026"/>
          </a:xfrm>
          <a:prstGeom prst="rect">
            <a:avLst/>
          </a:prstGeom>
        </p:spPr>
      </p:pic>
      <p:sp>
        <p:nvSpPr>
          <p:cNvPr id="2" name="Title 1">
            <a:extLst>
              <a:ext uri="{FF2B5EF4-FFF2-40B4-BE49-F238E27FC236}">
                <a16:creationId xmlns:a16="http://schemas.microsoft.com/office/drawing/2014/main" id="{C7106D83-86C1-03BA-6A3C-29169056A500}"/>
              </a:ext>
            </a:extLst>
          </p:cNvPr>
          <p:cNvSpPr>
            <a:spLocks noGrp="1"/>
          </p:cNvSpPr>
          <p:nvPr>
            <p:ph type="title" hasCustomPrompt="1"/>
          </p:nvPr>
        </p:nvSpPr>
        <p:spPr>
          <a:xfrm>
            <a:off x="849312" y="2467915"/>
            <a:ext cx="4430065" cy="1232645"/>
          </a:xfrm>
        </p:spPr>
        <p:txBody>
          <a:bodyPr wrap="square" anchor="ctr">
            <a:noAutofit/>
          </a:bodyPr>
          <a:lstStyle>
            <a:lvl1pPr algn="l">
              <a:defRPr sz="8900" spc="-300">
                <a:solidFill>
                  <a:schemeClr val="accent1"/>
                </a:solidFill>
                <a:latin typeface="+mj-lt"/>
              </a:defRPr>
            </a:lvl1pPr>
          </a:lstStyle>
          <a:p>
            <a:r>
              <a:rPr lang="en-US"/>
              <a:t>Agenda</a:t>
            </a:r>
          </a:p>
        </p:txBody>
      </p:sp>
      <p:sp>
        <p:nvSpPr>
          <p:cNvPr id="9" name="Text Placeholder 8">
            <a:extLst>
              <a:ext uri="{FF2B5EF4-FFF2-40B4-BE49-F238E27FC236}">
                <a16:creationId xmlns:a16="http://schemas.microsoft.com/office/drawing/2014/main" id="{7D0C2672-616F-7E48-D192-190D79314B2A}"/>
              </a:ext>
            </a:extLst>
          </p:cNvPr>
          <p:cNvSpPr>
            <a:spLocks noGrp="1"/>
          </p:cNvSpPr>
          <p:nvPr>
            <p:ph type="body" sz="quarter" idx="13" hasCustomPrompt="1"/>
          </p:nvPr>
        </p:nvSpPr>
        <p:spPr>
          <a:xfrm>
            <a:off x="6572251" y="696686"/>
            <a:ext cx="5121312" cy="5464628"/>
          </a:xfrm>
          <a:prstGeom prst="rect">
            <a:avLst/>
          </a:prstGeom>
        </p:spPr>
        <p:txBody>
          <a:bodyPr anchor="ctr">
            <a:noAutofit/>
          </a:bodyPr>
          <a:lstStyle>
            <a:lvl1pPr marL="0" indent="0">
              <a:lnSpc>
                <a:spcPct val="87000"/>
              </a:lnSpc>
              <a:spcBef>
                <a:spcPts val="900"/>
              </a:spcBef>
              <a:spcAft>
                <a:spcPts val="900"/>
              </a:spcAft>
              <a:buClr>
                <a:srgbClr val="8E71F4"/>
              </a:buClr>
              <a:buFont typeface="ES Build Neutral" pitchFamily="50" charset="0"/>
              <a:buChar char="​"/>
              <a:defRPr sz="3400">
                <a:solidFill>
                  <a:schemeClr val="tx1"/>
                </a:solidFill>
              </a:defRPr>
            </a:lvl1pPr>
            <a:lvl2pPr marL="7938" indent="-7938">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vl6pPr marL="27432" indent="0">
              <a:lnSpc>
                <a:spcPct val="67000"/>
              </a:lnSpc>
              <a:spcBef>
                <a:spcPts val="600"/>
              </a:spcBef>
              <a:spcAft>
                <a:spcPts val="0"/>
              </a:spcAft>
              <a:buFont typeface="ES Build Neutral" pitchFamily="50" charset="0"/>
              <a:buChar char="​"/>
              <a:tabLst/>
              <a:defRPr sz="1200" b="0">
                <a:solidFill>
                  <a:schemeClr val="tx1"/>
                </a:solidFill>
              </a:defRPr>
            </a:lvl6pPr>
            <a:lvl7pPr marL="0" indent="0">
              <a:spcBef>
                <a:spcPts val="1500"/>
              </a:spcBef>
              <a:spcAft>
                <a:spcPts val="0"/>
              </a:spcAft>
              <a:defRPr sz="4400" spc="0" baseline="0">
                <a:solidFill>
                  <a:schemeClr val="tx1"/>
                </a:solidFill>
                <a:latin typeface="ES Build "/>
              </a:defRPr>
            </a:lvl7pPr>
            <a:lvl8pPr marL="27432">
              <a:spcBef>
                <a:spcPts val="0"/>
              </a:spcBef>
              <a:defRPr sz="1600" spc="0">
                <a:solidFill>
                  <a:srgbClr val="8E71F4"/>
                </a:solidFill>
                <a:latin typeface="+mn-lt"/>
              </a:defRPr>
            </a:lvl8pPr>
            <a:lvl9pPr>
              <a:defRPr>
                <a:solidFill>
                  <a:schemeClr val="bg1"/>
                </a:solidFill>
              </a:defRPr>
            </a:lvl9pPr>
          </a:lstStyle>
          <a:p>
            <a:pPr lvl="6"/>
            <a:r>
              <a:rPr lang="en-US"/>
              <a:t>Edit text</a:t>
            </a:r>
          </a:p>
          <a:p>
            <a:pPr lvl="7"/>
            <a:r>
              <a:rPr lang="en-US"/>
              <a:t>Edit text</a:t>
            </a:r>
          </a:p>
          <a:p>
            <a:pPr lvl="5"/>
            <a:r>
              <a:rPr lang="en-US"/>
              <a:t>Edit text</a:t>
            </a:r>
          </a:p>
        </p:txBody>
      </p:sp>
      <p:sp>
        <p:nvSpPr>
          <p:cNvPr id="12" name="object 2">
            <a:extLst>
              <a:ext uri="{FF2B5EF4-FFF2-40B4-BE49-F238E27FC236}">
                <a16:creationId xmlns:a16="http://schemas.microsoft.com/office/drawing/2014/main" id="{EC7EF173-7EEC-F83D-97C8-B7439C2204DB}"/>
              </a:ext>
            </a:extLst>
          </p:cNvPr>
          <p:cNvSpPr/>
          <p:nvPr userDrawn="1"/>
        </p:nvSpPr>
        <p:spPr>
          <a:xfrm>
            <a:off x="542689" y="2076112"/>
            <a:ext cx="543873" cy="543873"/>
          </a:xfrm>
          <a:custGeom>
            <a:avLst/>
            <a:gdLst/>
            <a:ahLst/>
            <a:cxnLst/>
            <a:rect l="l" t="t" r="r" b="b"/>
            <a:pathLst>
              <a:path w="828675" h="828675">
                <a:moveTo>
                  <a:pt x="828121" y="0"/>
                </a:moveTo>
                <a:lnTo>
                  <a:pt x="511712" y="565"/>
                </a:lnTo>
                <a:lnTo>
                  <a:pt x="468206" y="4936"/>
                </a:lnTo>
                <a:lnTo>
                  <a:pt x="426776" y="17574"/>
                </a:lnTo>
                <a:lnTo>
                  <a:pt x="388579" y="37999"/>
                </a:lnTo>
                <a:lnTo>
                  <a:pt x="354774" y="65736"/>
                </a:lnTo>
                <a:lnTo>
                  <a:pt x="65736" y="354774"/>
                </a:lnTo>
                <a:lnTo>
                  <a:pt x="38004" y="388579"/>
                </a:lnTo>
                <a:lnTo>
                  <a:pt x="17577" y="426774"/>
                </a:lnTo>
                <a:lnTo>
                  <a:pt x="4938" y="468201"/>
                </a:lnTo>
                <a:lnTo>
                  <a:pt x="565" y="511701"/>
                </a:lnTo>
                <a:lnTo>
                  <a:pt x="0" y="828110"/>
                </a:lnTo>
                <a:lnTo>
                  <a:pt x="235553" y="828110"/>
                </a:lnTo>
                <a:lnTo>
                  <a:pt x="236087" y="280776"/>
                </a:lnTo>
                <a:lnTo>
                  <a:pt x="239616" y="263356"/>
                </a:lnTo>
                <a:lnTo>
                  <a:pt x="249213" y="249132"/>
                </a:lnTo>
                <a:lnTo>
                  <a:pt x="263438" y="239540"/>
                </a:lnTo>
                <a:lnTo>
                  <a:pt x="280850" y="236013"/>
                </a:lnTo>
                <a:lnTo>
                  <a:pt x="828121" y="235553"/>
                </a:lnTo>
                <a:lnTo>
                  <a:pt x="828121" y="0"/>
                </a:lnTo>
                <a:close/>
              </a:path>
            </a:pathLst>
          </a:custGeom>
          <a:solidFill>
            <a:schemeClr val="bg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F5860"/>
              </a:solidFill>
              <a:effectLst/>
              <a:uLnTx/>
              <a:uFillTx/>
            </a:endParaRPr>
          </a:p>
        </p:txBody>
      </p:sp>
      <p:sp>
        <p:nvSpPr>
          <p:cNvPr id="3" name="TextBox 2">
            <a:extLst>
              <a:ext uri="{FF2B5EF4-FFF2-40B4-BE49-F238E27FC236}">
                <a16:creationId xmlns:a16="http://schemas.microsoft.com/office/drawing/2014/main" id="{33F39891-E607-D810-0433-4C2419FE8987}"/>
              </a:ext>
            </a:extLst>
          </p:cNvPr>
          <p:cNvSpPr txBox="1"/>
          <p:nvPr userDrawn="1"/>
        </p:nvSpPr>
        <p:spPr>
          <a:xfrm>
            <a:off x="524142" y="6562481"/>
            <a:ext cx="5293842" cy="107722"/>
          </a:xfrm>
          <a:prstGeom prst="rect">
            <a:avLst/>
          </a:prstGeom>
          <a:noFill/>
        </p:spPr>
        <p:txBody>
          <a:bodyPr wrap="square" lIns="0" tIns="0" rIns="0" bIns="0">
            <a:spAutoFit/>
          </a:bodyPr>
          <a:lstStyle/>
          <a:p>
            <a:r>
              <a:rPr lang="en-US" sz="700">
                <a:solidFill>
                  <a:schemeClr val="bg2"/>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240710275"/>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mparison Azure Righ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a:off x="609600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Title 1">
            <a:extLst>
              <a:ext uri="{FF2B5EF4-FFF2-40B4-BE49-F238E27FC236}">
                <a16:creationId xmlns:a16="http://schemas.microsoft.com/office/drawing/2014/main" id="{951EE247-A1E4-4614-0D9D-D5DECA82587F}"/>
              </a:ext>
            </a:extLst>
          </p:cNvPr>
          <p:cNvSpPr>
            <a:spLocks noGrp="1"/>
          </p:cNvSpPr>
          <p:nvPr>
            <p:ph type="title"/>
          </p:nvPr>
        </p:nvSpPr>
        <p:spPr>
          <a:xfrm>
            <a:off x="493714" y="579438"/>
            <a:ext cx="5113896" cy="792162"/>
          </a:xfrm>
        </p:spPr>
        <p:txBody>
          <a:bodyPr anchor="t">
            <a:noAutofit/>
          </a:bodyPr>
          <a:lstStyle>
            <a:lvl1pPr>
              <a:lnSpc>
                <a:spcPct val="85000"/>
              </a:lnSpc>
              <a:defRPr/>
            </a:lvl1pPr>
          </a:lstStyle>
          <a:p>
            <a:r>
              <a:rPr lang="en-US"/>
              <a:t>Click to edit Master title style</a:t>
            </a:r>
          </a:p>
        </p:txBody>
      </p:sp>
      <p:sp>
        <p:nvSpPr>
          <p:cNvPr id="11" name="Text Placeholder 12">
            <a:extLst>
              <a:ext uri="{FF2B5EF4-FFF2-40B4-BE49-F238E27FC236}">
                <a16:creationId xmlns:a16="http://schemas.microsoft.com/office/drawing/2014/main" id="{C4642B5E-8C94-17D3-F93F-3840B02EA831}"/>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bg1"/>
                </a:solidFill>
                <a:latin typeface="ES Build "/>
              </a:defRPr>
            </a:lvl1pPr>
          </a:lstStyle>
          <a:p>
            <a:pPr lvl="0"/>
            <a:r>
              <a:rPr lang="en-US"/>
              <a:t>Click to edit Master text styles</a:t>
            </a:r>
          </a:p>
        </p:txBody>
      </p:sp>
      <p:sp>
        <p:nvSpPr>
          <p:cNvPr id="14" name="Subtitle 2">
            <a:extLst>
              <a:ext uri="{FF2B5EF4-FFF2-40B4-BE49-F238E27FC236}">
                <a16:creationId xmlns:a16="http://schemas.microsoft.com/office/drawing/2014/main" id="{3007A138-C620-C216-81D8-D8E61813A097}"/>
              </a:ext>
            </a:extLst>
          </p:cNvPr>
          <p:cNvSpPr>
            <a:spLocks noGrp="1"/>
          </p:cNvSpPr>
          <p:nvPr>
            <p:ph type="subTitle" idx="1"/>
          </p:nvPr>
        </p:nvSpPr>
        <p:spPr>
          <a:xfrm>
            <a:off x="493714" y="1371600"/>
            <a:ext cx="5113896" cy="347663"/>
          </a:xfrm>
        </p:spPr>
        <p:txBody>
          <a:bodyPr anchor="t">
            <a:noAutofit/>
          </a:bodyPr>
          <a:lstStyle>
            <a:lvl1pPr marL="0" indent="0" algn="l">
              <a:buNone/>
              <a:defRPr sz="21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CB80F05A-F7DA-DFAD-C0FF-D23A8B833D91}"/>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bg1"/>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88A25FED-7651-669D-F6ED-C0383FDEB7A6}"/>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2" name="Content Placeholder 18">
            <a:extLst>
              <a:ext uri="{FF2B5EF4-FFF2-40B4-BE49-F238E27FC236}">
                <a16:creationId xmlns:a16="http://schemas.microsoft.com/office/drawing/2014/main" id="{3BFB5233-0C22-0B42-D8D2-6EC2FC5A5CB9}"/>
              </a:ext>
            </a:extLst>
          </p:cNvPr>
          <p:cNvSpPr>
            <a:spLocks noGrp="1"/>
          </p:cNvSpPr>
          <p:nvPr>
            <p:ph sz="quarter" idx="10"/>
          </p:nvPr>
        </p:nvSpPr>
        <p:spPr>
          <a:xfrm>
            <a:off x="493288" y="2397125"/>
            <a:ext cx="5124876"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8">
            <a:extLst>
              <a:ext uri="{FF2B5EF4-FFF2-40B4-BE49-F238E27FC236}">
                <a16:creationId xmlns:a16="http://schemas.microsoft.com/office/drawing/2014/main" id="{3E912223-C3AF-9FB0-D854-017C99C1BDB2}"/>
              </a:ext>
            </a:extLst>
          </p:cNvPr>
          <p:cNvSpPr>
            <a:spLocks noGrp="1"/>
          </p:cNvSpPr>
          <p:nvPr>
            <p:ph sz="quarter" idx="11"/>
          </p:nvPr>
        </p:nvSpPr>
        <p:spPr>
          <a:xfrm>
            <a:off x="6574140" y="2394727"/>
            <a:ext cx="5124475" cy="3771900"/>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phic 3">
            <a:extLst>
              <a:ext uri="{FF2B5EF4-FFF2-40B4-BE49-F238E27FC236}">
                <a16:creationId xmlns:a16="http://schemas.microsoft.com/office/drawing/2014/main" id="{D868E0C3-9248-46A5-7BAC-9B844C0832B5}"/>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32566931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mparison Azure Lef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flipH="1">
            <a:off x="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Title 1">
            <a:extLst>
              <a:ext uri="{FF2B5EF4-FFF2-40B4-BE49-F238E27FC236}">
                <a16:creationId xmlns:a16="http://schemas.microsoft.com/office/drawing/2014/main" id="{951EE247-A1E4-4614-0D9D-D5DECA82587F}"/>
              </a:ext>
            </a:extLst>
          </p:cNvPr>
          <p:cNvSpPr>
            <a:spLocks noGrp="1"/>
          </p:cNvSpPr>
          <p:nvPr>
            <p:ph type="title"/>
          </p:nvPr>
        </p:nvSpPr>
        <p:spPr>
          <a:xfrm>
            <a:off x="493714" y="579438"/>
            <a:ext cx="5113896" cy="792162"/>
          </a:xfrm>
        </p:spPr>
        <p:txBody>
          <a:bodyPr anchor="t">
            <a:noAutofit/>
          </a:bodyPr>
          <a:lstStyle>
            <a:lvl1pPr>
              <a:lnSpc>
                <a:spcPct val="85000"/>
              </a:lnSpc>
              <a:defRPr>
                <a:solidFill>
                  <a:schemeClr val="bg1"/>
                </a:solidFill>
              </a:defRPr>
            </a:lvl1pPr>
          </a:lstStyle>
          <a:p>
            <a:r>
              <a:rPr lang="en-US"/>
              <a:t>Click to edit Master title style</a:t>
            </a:r>
          </a:p>
        </p:txBody>
      </p:sp>
      <p:sp>
        <p:nvSpPr>
          <p:cNvPr id="11" name="Text Placeholder 12">
            <a:extLst>
              <a:ext uri="{FF2B5EF4-FFF2-40B4-BE49-F238E27FC236}">
                <a16:creationId xmlns:a16="http://schemas.microsoft.com/office/drawing/2014/main" id="{C4642B5E-8C94-17D3-F93F-3840B02EA831}"/>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tx1"/>
                </a:solidFill>
                <a:latin typeface="+mj-lt"/>
              </a:defRPr>
            </a:lvl1pPr>
          </a:lstStyle>
          <a:p>
            <a:pPr lvl="0"/>
            <a:r>
              <a:rPr lang="en-US"/>
              <a:t>Click to edit Master text styles</a:t>
            </a:r>
          </a:p>
        </p:txBody>
      </p:sp>
      <p:sp>
        <p:nvSpPr>
          <p:cNvPr id="14" name="Subtitle 2">
            <a:extLst>
              <a:ext uri="{FF2B5EF4-FFF2-40B4-BE49-F238E27FC236}">
                <a16:creationId xmlns:a16="http://schemas.microsoft.com/office/drawing/2014/main" id="{3007A138-C620-C216-81D8-D8E61813A097}"/>
              </a:ext>
            </a:extLst>
          </p:cNvPr>
          <p:cNvSpPr>
            <a:spLocks noGrp="1"/>
          </p:cNvSpPr>
          <p:nvPr>
            <p:ph type="subTitle" idx="1"/>
          </p:nvPr>
        </p:nvSpPr>
        <p:spPr>
          <a:xfrm>
            <a:off x="493714" y="1371600"/>
            <a:ext cx="5113896" cy="347663"/>
          </a:xfrm>
        </p:spPr>
        <p:txBody>
          <a:bodyPr anchor="t">
            <a:noAutofit/>
          </a:bodyPr>
          <a:lstStyle>
            <a:lvl1pPr marL="0" indent="0" algn="l">
              <a:buNone/>
              <a:defRPr sz="2100">
                <a:solidFill>
                  <a:schemeClr val="bg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CB80F05A-F7DA-DFAD-C0FF-D23A8B833D91}"/>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tx1"/>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88A25FED-7651-669D-F6ED-C0383FDEB7A6}"/>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bg1"/>
                </a:solidFill>
              </a:defRPr>
            </a:lvl1pPr>
          </a:lstStyle>
          <a:p>
            <a:endParaRPr lang="en-US"/>
          </a:p>
        </p:txBody>
      </p:sp>
      <p:sp>
        <p:nvSpPr>
          <p:cNvPr id="3" name="TextBox 2">
            <a:extLst>
              <a:ext uri="{FF2B5EF4-FFF2-40B4-BE49-F238E27FC236}">
                <a16:creationId xmlns:a16="http://schemas.microsoft.com/office/drawing/2014/main" id="{60F46438-8E5E-DFE3-3C05-0A1AC859EA83}"/>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
        <p:nvSpPr>
          <p:cNvPr id="5" name="Content Placeholder 18">
            <a:extLst>
              <a:ext uri="{FF2B5EF4-FFF2-40B4-BE49-F238E27FC236}">
                <a16:creationId xmlns:a16="http://schemas.microsoft.com/office/drawing/2014/main" id="{F1A84BF6-1144-9AFE-8821-5567440B699F}"/>
              </a:ext>
            </a:extLst>
          </p:cNvPr>
          <p:cNvSpPr>
            <a:spLocks noGrp="1"/>
          </p:cNvSpPr>
          <p:nvPr>
            <p:ph sz="quarter" idx="10"/>
          </p:nvPr>
        </p:nvSpPr>
        <p:spPr>
          <a:xfrm>
            <a:off x="493288" y="2397125"/>
            <a:ext cx="5124876" cy="3771900"/>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18">
            <a:extLst>
              <a:ext uri="{FF2B5EF4-FFF2-40B4-BE49-F238E27FC236}">
                <a16:creationId xmlns:a16="http://schemas.microsoft.com/office/drawing/2014/main" id="{A57C34FA-03D8-9FC3-57CF-2277DD6AE7B0}"/>
              </a:ext>
            </a:extLst>
          </p:cNvPr>
          <p:cNvSpPr>
            <a:spLocks noGrp="1"/>
          </p:cNvSpPr>
          <p:nvPr>
            <p:ph sz="quarter" idx="11"/>
          </p:nvPr>
        </p:nvSpPr>
        <p:spPr>
          <a:xfrm>
            <a:off x="6574140" y="2394727"/>
            <a:ext cx="5124475"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9616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mparison Suma Righ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a:off x="609600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rgbClr val="FE8A2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Title 1">
            <a:extLst>
              <a:ext uri="{FF2B5EF4-FFF2-40B4-BE49-F238E27FC236}">
                <a16:creationId xmlns:a16="http://schemas.microsoft.com/office/drawing/2014/main" id="{0C5401A7-BDA4-8691-C3F9-CA6F37E09955}"/>
              </a:ext>
            </a:extLst>
          </p:cNvPr>
          <p:cNvSpPr>
            <a:spLocks noGrp="1"/>
          </p:cNvSpPr>
          <p:nvPr>
            <p:ph type="title"/>
          </p:nvPr>
        </p:nvSpPr>
        <p:spPr>
          <a:xfrm>
            <a:off x="493714" y="579438"/>
            <a:ext cx="5113896" cy="792162"/>
          </a:xfrm>
        </p:spPr>
        <p:txBody>
          <a:bodyPr anchor="t">
            <a:noAutofit/>
          </a:bodyPr>
          <a:lstStyle>
            <a:lvl1pPr>
              <a:lnSpc>
                <a:spcPct val="85000"/>
              </a:lnSpc>
              <a:defRPr/>
            </a:lvl1pPr>
          </a:lstStyle>
          <a:p>
            <a:r>
              <a:rPr lang="en-US"/>
              <a:t>Click to edit Master title style</a:t>
            </a:r>
          </a:p>
        </p:txBody>
      </p:sp>
      <p:sp>
        <p:nvSpPr>
          <p:cNvPr id="11" name="Text Placeholder 12">
            <a:extLst>
              <a:ext uri="{FF2B5EF4-FFF2-40B4-BE49-F238E27FC236}">
                <a16:creationId xmlns:a16="http://schemas.microsoft.com/office/drawing/2014/main" id="{D75A9DCD-B172-E190-883C-626D62530512}"/>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bg1"/>
                </a:solidFill>
                <a:latin typeface="ES Build "/>
              </a:defRPr>
            </a:lvl1pPr>
          </a:lstStyle>
          <a:p>
            <a:pPr lvl="0"/>
            <a:r>
              <a:rPr lang="en-US"/>
              <a:t>Click to edit Master text styles</a:t>
            </a:r>
          </a:p>
        </p:txBody>
      </p:sp>
      <p:sp>
        <p:nvSpPr>
          <p:cNvPr id="14" name="Subtitle 2">
            <a:extLst>
              <a:ext uri="{FF2B5EF4-FFF2-40B4-BE49-F238E27FC236}">
                <a16:creationId xmlns:a16="http://schemas.microsoft.com/office/drawing/2014/main" id="{7FCDD184-4728-83E7-FD45-4DB26B8D6469}"/>
              </a:ext>
            </a:extLst>
          </p:cNvPr>
          <p:cNvSpPr>
            <a:spLocks noGrp="1"/>
          </p:cNvSpPr>
          <p:nvPr>
            <p:ph type="subTitle" idx="1"/>
          </p:nvPr>
        </p:nvSpPr>
        <p:spPr>
          <a:xfrm>
            <a:off x="493714" y="1371600"/>
            <a:ext cx="5113896" cy="347663"/>
          </a:xfrm>
        </p:spPr>
        <p:txBody>
          <a:bodyPr anchor="t">
            <a:noAutofit/>
          </a:bodyPr>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7D93CB58-DA98-333A-2500-74FD22733930}"/>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bg1"/>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C872DE19-6B88-23B3-CF4E-B7B3159A26B0}"/>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2" name="Content Placeholder 18">
            <a:extLst>
              <a:ext uri="{FF2B5EF4-FFF2-40B4-BE49-F238E27FC236}">
                <a16:creationId xmlns:a16="http://schemas.microsoft.com/office/drawing/2014/main" id="{799C9AA4-BD54-B89F-8562-AACE02773872}"/>
              </a:ext>
            </a:extLst>
          </p:cNvPr>
          <p:cNvSpPr>
            <a:spLocks noGrp="1"/>
          </p:cNvSpPr>
          <p:nvPr>
            <p:ph sz="quarter" idx="10"/>
          </p:nvPr>
        </p:nvSpPr>
        <p:spPr>
          <a:xfrm>
            <a:off x="493288" y="2397125"/>
            <a:ext cx="5124876"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8">
            <a:extLst>
              <a:ext uri="{FF2B5EF4-FFF2-40B4-BE49-F238E27FC236}">
                <a16:creationId xmlns:a16="http://schemas.microsoft.com/office/drawing/2014/main" id="{3A2B3987-EA85-C344-EC96-FE44906679AF}"/>
              </a:ext>
            </a:extLst>
          </p:cNvPr>
          <p:cNvSpPr>
            <a:spLocks noGrp="1"/>
          </p:cNvSpPr>
          <p:nvPr>
            <p:ph sz="quarter" idx="11"/>
          </p:nvPr>
        </p:nvSpPr>
        <p:spPr>
          <a:xfrm>
            <a:off x="6574140" y="2394727"/>
            <a:ext cx="5124475" cy="3771900"/>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phic 3">
            <a:extLst>
              <a:ext uri="{FF2B5EF4-FFF2-40B4-BE49-F238E27FC236}">
                <a16:creationId xmlns:a16="http://schemas.microsoft.com/office/drawing/2014/main" id="{38899D05-44B5-BD20-0E90-F4389A7A5267}"/>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41425089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Suma Lef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flipH="1">
            <a:off x="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rgbClr val="FE8A2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Title 1">
            <a:extLst>
              <a:ext uri="{FF2B5EF4-FFF2-40B4-BE49-F238E27FC236}">
                <a16:creationId xmlns:a16="http://schemas.microsoft.com/office/drawing/2014/main" id="{0C5401A7-BDA4-8691-C3F9-CA6F37E09955}"/>
              </a:ext>
            </a:extLst>
          </p:cNvPr>
          <p:cNvSpPr>
            <a:spLocks noGrp="1"/>
          </p:cNvSpPr>
          <p:nvPr>
            <p:ph type="title"/>
          </p:nvPr>
        </p:nvSpPr>
        <p:spPr>
          <a:xfrm>
            <a:off x="493714" y="579438"/>
            <a:ext cx="5113896" cy="792162"/>
          </a:xfrm>
        </p:spPr>
        <p:txBody>
          <a:bodyPr anchor="t">
            <a:noAutofit/>
          </a:bodyPr>
          <a:lstStyle>
            <a:lvl1pPr>
              <a:lnSpc>
                <a:spcPct val="85000"/>
              </a:lnSpc>
              <a:defRPr>
                <a:solidFill>
                  <a:schemeClr val="bg1"/>
                </a:solidFill>
              </a:defRPr>
            </a:lvl1pPr>
          </a:lstStyle>
          <a:p>
            <a:r>
              <a:rPr lang="en-US"/>
              <a:t>Click to edit Master title style</a:t>
            </a:r>
          </a:p>
        </p:txBody>
      </p:sp>
      <p:sp>
        <p:nvSpPr>
          <p:cNvPr id="11" name="Text Placeholder 12">
            <a:extLst>
              <a:ext uri="{FF2B5EF4-FFF2-40B4-BE49-F238E27FC236}">
                <a16:creationId xmlns:a16="http://schemas.microsoft.com/office/drawing/2014/main" id="{D75A9DCD-B172-E190-883C-626D62530512}"/>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tx1"/>
                </a:solidFill>
                <a:latin typeface="+mj-lt"/>
              </a:defRPr>
            </a:lvl1pPr>
          </a:lstStyle>
          <a:p>
            <a:pPr lvl="0"/>
            <a:r>
              <a:rPr lang="en-US"/>
              <a:t>Click to edit Master text styles</a:t>
            </a:r>
          </a:p>
        </p:txBody>
      </p:sp>
      <p:sp>
        <p:nvSpPr>
          <p:cNvPr id="14" name="Subtitle 2">
            <a:extLst>
              <a:ext uri="{FF2B5EF4-FFF2-40B4-BE49-F238E27FC236}">
                <a16:creationId xmlns:a16="http://schemas.microsoft.com/office/drawing/2014/main" id="{7FCDD184-4728-83E7-FD45-4DB26B8D6469}"/>
              </a:ext>
            </a:extLst>
          </p:cNvPr>
          <p:cNvSpPr>
            <a:spLocks noGrp="1"/>
          </p:cNvSpPr>
          <p:nvPr>
            <p:ph type="subTitle" idx="1"/>
          </p:nvPr>
        </p:nvSpPr>
        <p:spPr>
          <a:xfrm>
            <a:off x="493714" y="1371600"/>
            <a:ext cx="5113896" cy="347663"/>
          </a:xfrm>
        </p:spPr>
        <p:txBody>
          <a:bodyPr anchor="t">
            <a:noAutofit/>
          </a:bodyPr>
          <a:lstStyle>
            <a:lvl1pPr marL="0" indent="0" algn="l">
              <a:buNone/>
              <a:defRPr sz="21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7D93CB58-DA98-333A-2500-74FD22733930}"/>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tx1"/>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C872DE19-6B88-23B3-CF4E-B7B3159A26B0}"/>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bg1"/>
                </a:solidFill>
              </a:defRPr>
            </a:lvl1pPr>
          </a:lstStyle>
          <a:p>
            <a:endParaRPr lang="en-US"/>
          </a:p>
        </p:txBody>
      </p:sp>
      <p:sp>
        <p:nvSpPr>
          <p:cNvPr id="2" name="TextBox 1">
            <a:extLst>
              <a:ext uri="{FF2B5EF4-FFF2-40B4-BE49-F238E27FC236}">
                <a16:creationId xmlns:a16="http://schemas.microsoft.com/office/drawing/2014/main" id="{4AACA3ED-5988-CB18-29BE-7049693A094C}"/>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
        <p:nvSpPr>
          <p:cNvPr id="3" name="Content Placeholder 18">
            <a:extLst>
              <a:ext uri="{FF2B5EF4-FFF2-40B4-BE49-F238E27FC236}">
                <a16:creationId xmlns:a16="http://schemas.microsoft.com/office/drawing/2014/main" id="{44972636-A842-A90B-EFCC-98E36F84E3C5}"/>
              </a:ext>
            </a:extLst>
          </p:cNvPr>
          <p:cNvSpPr>
            <a:spLocks noGrp="1"/>
          </p:cNvSpPr>
          <p:nvPr>
            <p:ph sz="quarter" idx="10"/>
          </p:nvPr>
        </p:nvSpPr>
        <p:spPr>
          <a:xfrm>
            <a:off x="493288" y="2397125"/>
            <a:ext cx="5124876" cy="3771900"/>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18">
            <a:extLst>
              <a:ext uri="{FF2B5EF4-FFF2-40B4-BE49-F238E27FC236}">
                <a16:creationId xmlns:a16="http://schemas.microsoft.com/office/drawing/2014/main" id="{16BD2A60-D1B7-3B9C-4615-69657D0FC4A4}"/>
              </a:ext>
            </a:extLst>
          </p:cNvPr>
          <p:cNvSpPr>
            <a:spLocks noGrp="1"/>
          </p:cNvSpPr>
          <p:nvPr>
            <p:ph sz="quarter" idx="11"/>
          </p:nvPr>
        </p:nvSpPr>
        <p:spPr>
          <a:xfrm>
            <a:off x="6574140" y="2394727"/>
            <a:ext cx="5124475"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87543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mparison Sol Righ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a:off x="609600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rgbClr val="FFD839"/>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1">
            <a:extLst>
              <a:ext uri="{FF2B5EF4-FFF2-40B4-BE49-F238E27FC236}">
                <a16:creationId xmlns:a16="http://schemas.microsoft.com/office/drawing/2014/main" id="{99929713-92BF-C5AE-255B-E700DC18B264}"/>
              </a:ext>
            </a:extLst>
          </p:cNvPr>
          <p:cNvSpPr>
            <a:spLocks noGrp="1"/>
          </p:cNvSpPr>
          <p:nvPr>
            <p:ph type="title"/>
          </p:nvPr>
        </p:nvSpPr>
        <p:spPr>
          <a:xfrm>
            <a:off x="493714" y="579438"/>
            <a:ext cx="5113896" cy="792162"/>
          </a:xfrm>
        </p:spPr>
        <p:txBody>
          <a:bodyPr anchor="t">
            <a:noAutofit/>
          </a:bodyPr>
          <a:lstStyle>
            <a:lvl1pPr>
              <a:lnSpc>
                <a:spcPct val="85000"/>
              </a:lnSpc>
              <a:defRPr/>
            </a:lvl1pPr>
          </a:lstStyle>
          <a:p>
            <a:r>
              <a:rPr lang="en-US"/>
              <a:t>Click to edit Master title style</a:t>
            </a:r>
          </a:p>
        </p:txBody>
      </p:sp>
      <p:sp>
        <p:nvSpPr>
          <p:cNvPr id="5" name="Text Placeholder 12">
            <a:extLst>
              <a:ext uri="{FF2B5EF4-FFF2-40B4-BE49-F238E27FC236}">
                <a16:creationId xmlns:a16="http://schemas.microsoft.com/office/drawing/2014/main" id="{920AE283-D579-E34E-7789-64765852C9CF}"/>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accent1"/>
                </a:solidFill>
                <a:latin typeface="+mj-lt"/>
              </a:defRPr>
            </a:lvl1pPr>
          </a:lstStyle>
          <a:p>
            <a:pPr lvl="0"/>
            <a:r>
              <a:rPr lang="en-US"/>
              <a:t>Click to edit Master text styles</a:t>
            </a:r>
          </a:p>
        </p:txBody>
      </p:sp>
      <p:sp>
        <p:nvSpPr>
          <p:cNvPr id="9" name="Subtitle 2">
            <a:extLst>
              <a:ext uri="{FF2B5EF4-FFF2-40B4-BE49-F238E27FC236}">
                <a16:creationId xmlns:a16="http://schemas.microsoft.com/office/drawing/2014/main" id="{913D57F8-6390-CDE9-60EB-FC8B8483AA89}"/>
              </a:ext>
            </a:extLst>
          </p:cNvPr>
          <p:cNvSpPr>
            <a:spLocks noGrp="1"/>
          </p:cNvSpPr>
          <p:nvPr>
            <p:ph type="subTitle" idx="1"/>
          </p:nvPr>
        </p:nvSpPr>
        <p:spPr>
          <a:xfrm>
            <a:off x="493714" y="1371600"/>
            <a:ext cx="5113896" cy="347663"/>
          </a:xfrm>
        </p:spPr>
        <p:txBody>
          <a:bodyPr anchor="t">
            <a:noAutofit/>
          </a:bodyPr>
          <a:lstStyle>
            <a:lvl1pPr marL="0" indent="0" algn="l">
              <a:buNone/>
              <a:defRPr sz="21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11">
            <a:extLst>
              <a:ext uri="{FF2B5EF4-FFF2-40B4-BE49-F238E27FC236}">
                <a16:creationId xmlns:a16="http://schemas.microsoft.com/office/drawing/2014/main" id="{FF517ECE-082F-3056-AFD9-60411B053E86}"/>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accent1"/>
                </a:solidFill>
                <a:latin typeface="+mn-lt"/>
              </a:defRPr>
            </a:lvl1pPr>
          </a:lstStyle>
          <a:p>
            <a:pPr lvl="0"/>
            <a:r>
              <a:rPr lang="en-US"/>
              <a:t>Click to edit Master text styles</a:t>
            </a:r>
          </a:p>
        </p:txBody>
      </p:sp>
      <p:sp>
        <p:nvSpPr>
          <p:cNvPr id="3" name="Footer Placeholder 66">
            <a:extLst>
              <a:ext uri="{FF2B5EF4-FFF2-40B4-BE49-F238E27FC236}">
                <a16:creationId xmlns:a16="http://schemas.microsoft.com/office/drawing/2014/main" id="{7072184A-0627-5E87-1FC2-7D37EE5AD4B2}"/>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13" name="Content Placeholder 18">
            <a:extLst>
              <a:ext uri="{FF2B5EF4-FFF2-40B4-BE49-F238E27FC236}">
                <a16:creationId xmlns:a16="http://schemas.microsoft.com/office/drawing/2014/main" id="{3B320906-55E2-D76D-6628-39A846DD0602}"/>
              </a:ext>
            </a:extLst>
          </p:cNvPr>
          <p:cNvSpPr>
            <a:spLocks noGrp="1"/>
          </p:cNvSpPr>
          <p:nvPr>
            <p:ph sz="quarter" idx="10"/>
          </p:nvPr>
        </p:nvSpPr>
        <p:spPr>
          <a:xfrm>
            <a:off x="493288" y="2397125"/>
            <a:ext cx="5124876"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8">
            <a:extLst>
              <a:ext uri="{FF2B5EF4-FFF2-40B4-BE49-F238E27FC236}">
                <a16:creationId xmlns:a16="http://schemas.microsoft.com/office/drawing/2014/main" id="{4E339EF2-FA4D-9028-CABB-32DEB12B3371}"/>
              </a:ext>
            </a:extLst>
          </p:cNvPr>
          <p:cNvSpPr>
            <a:spLocks noGrp="1"/>
          </p:cNvSpPr>
          <p:nvPr>
            <p:ph sz="quarter" idx="11"/>
          </p:nvPr>
        </p:nvSpPr>
        <p:spPr>
          <a:xfrm>
            <a:off x="6574140" y="2394727"/>
            <a:ext cx="5124475" cy="3771900"/>
          </a:xfrm>
        </p:spPr>
        <p:txBody>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vl5pPr>
              <a:defRPr sz="160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5D0E5E60-1762-2EA0-94BA-D40F05FFAE68}"/>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17316810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mparison Sol Lef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flipH="1">
            <a:off x="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rgbClr val="FFD839"/>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1">
            <a:extLst>
              <a:ext uri="{FF2B5EF4-FFF2-40B4-BE49-F238E27FC236}">
                <a16:creationId xmlns:a16="http://schemas.microsoft.com/office/drawing/2014/main" id="{99929713-92BF-C5AE-255B-E700DC18B264}"/>
              </a:ext>
            </a:extLst>
          </p:cNvPr>
          <p:cNvSpPr>
            <a:spLocks noGrp="1"/>
          </p:cNvSpPr>
          <p:nvPr>
            <p:ph type="title"/>
          </p:nvPr>
        </p:nvSpPr>
        <p:spPr>
          <a:xfrm>
            <a:off x="493714" y="579438"/>
            <a:ext cx="5113896" cy="792162"/>
          </a:xfrm>
        </p:spPr>
        <p:txBody>
          <a:bodyPr anchor="t">
            <a:noAutofit/>
          </a:bodyPr>
          <a:lstStyle>
            <a:lvl1pPr>
              <a:lnSpc>
                <a:spcPct val="85000"/>
              </a:lnSpc>
              <a:defRPr>
                <a:solidFill>
                  <a:schemeClr val="accent1"/>
                </a:solidFill>
              </a:defRPr>
            </a:lvl1pPr>
          </a:lstStyle>
          <a:p>
            <a:r>
              <a:rPr lang="en-US"/>
              <a:t>Click to edit Master title style</a:t>
            </a:r>
          </a:p>
        </p:txBody>
      </p:sp>
      <p:sp>
        <p:nvSpPr>
          <p:cNvPr id="5" name="Text Placeholder 12">
            <a:extLst>
              <a:ext uri="{FF2B5EF4-FFF2-40B4-BE49-F238E27FC236}">
                <a16:creationId xmlns:a16="http://schemas.microsoft.com/office/drawing/2014/main" id="{920AE283-D579-E34E-7789-64765852C9CF}"/>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tx1"/>
                </a:solidFill>
                <a:latin typeface="+mj-lt"/>
              </a:defRPr>
            </a:lvl1pPr>
          </a:lstStyle>
          <a:p>
            <a:pPr lvl="0"/>
            <a:r>
              <a:rPr lang="en-US"/>
              <a:t>Click to edit Master text styles</a:t>
            </a:r>
          </a:p>
        </p:txBody>
      </p:sp>
      <p:sp>
        <p:nvSpPr>
          <p:cNvPr id="9" name="Subtitle 2">
            <a:extLst>
              <a:ext uri="{FF2B5EF4-FFF2-40B4-BE49-F238E27FC236}">
                <a16:creationId xmlns:a16="http://schemas.microsoft.com/office/drawing/2014/main" id="{913D57F8-6390-CDE9-60EB-FC8B8483AA89}"/>
              </a:ext>
            </a:extLst>
          </p:cNvPr>
          <p:cNvSpPr>
            <a:spLocks noGrp="1"/>
          </p:cNvSpPr>
          <p:nvPr>
            <p:ph type="subTitle" idx="1"/>
          </p:nvPr>
        </p:nvSpPr>
        <p:spPr>
          <a:xfrm>
            <a:off x="493714" y="1371600"/>
            <a:ext cx="5113896" cy="347663"/>
          </a:xfrm>
        </p:spPr>
        <p:txBody>
          <a:bodyPr anchor="t">
            <a:noAutofit/>
          </a:bodyPr>
          <a:lstStyle>
            <a:lvl1pPr marL="0" indent="0" algn="l">
              <a:buNone/>
              <a:defRPr sz="210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11">
            <a:extLst>
              <a:ext uri="{FF2B5EF4-FFF2-40B4-BE49-F238E27FC236}">
                <a16:creationId xmlns:a16="http://schemas.microsoft.com/office/drawing/2014/main" id="{FF517ECE-082F-3056-AFD9-60411B053E86}"/>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tx1"/>
                </a:solidFill>
                <a:latin typeface="+mn-lt"/>
              </a:defRPr>
            </a:lvl1pPr>
          </a:lstStyle>
          <a:p>
            <a:pPr lvl="0"/>
            <a:r>
              <a:rPr lang="en-US"/>
              <a:t>Click to edit Master text styles</a:t>
            </a:r>
          </a:p>
        </p:txBody>
      </p:sp>
      <p:sp>
        <p:nvSpPr>
          <p:cNvPr id="3" name="Footer Placeholder 66">
            <a:extLst>
              <a:ext uri="{FF2B5EF4-FFF2-40B4-BE49-F238E27FC236}">
                <a16:creationId xmlns:a16="http://schemas.microsoft.com/office/drawing/2014/main" id="{7072184A-0627-5E87-1FC2-7D37EE5AD4B2}"/>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accent1"/>
                </a:solidFill>
              </a:defRPr>
            </a:lvl1pPr>
          </a:lstStyle>
          <a:p>
            <a:endParaRPr lang="en-US"/>
          </a:p>
        </p:txBody>
      </p:sp>
      <p:sp>
        <p:nvSpPr>
          <p:cNvPr id="7" name="TextBox 6">
            <a:extLst>
              <a:ext uri="{FF2B5EF4-FFF2-40B4-BE49-F238E27FC236}">
                <a16:creationId xmlns:a16="http://schemas.microsoft.com/office/drawing/2014/main" id="{7DEB71E7-1179-EC2C-43ED-992A6AA2C284}"/>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accent1"/>
                </a:solidFill>
              </a:rPr>
              <a:t>© 2024 Veeam Software. Confidential information. All rights reserved. All trademarks are the property of their respective owners. </a:t>
            </a:r>
          </a:p>
        </p:txBody>
      </p:sp>
      <p:sp>
        <p:nvSpPr>
          <p:cNvPr id="8" name="Content Placeholder 18">
            <a:extLst>
              <a:ext uri="{FF2B5EF4-FFF2-40B4-BE49-F238E27FC236}">
                <a16:creationId xmlns:a16="http://schemas.microsoft.com/office/drawing/2014/main" id="{D8EA5D3A-7B2B-487A-59C0-D47866C30FD9}"/>
              </a:ext>
            </a:extLst>
          </p:cNvPr>
          <p:cNvSpPr>
            <a:spLocks noGrp="1"/>
          </p:cNvSpPr>
          <p:nvPr>
            <p:ph sz="quarter" idx="10"/>
          </p:nvPr>
        </p:nvSpPr>
        <p:spPr>
          <a:xfrm>
            <a:off x="493288" y="2397125"/>
            <a:ext cx="5124876" cy="3771900"/>
          </a:xfrm>
        </p:spPr>
        <p:txBody>
          <a:bodyPr/>
          <a:lstStyle>
            <a:lvl1pPr>
              <a:defRPr>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vl5pPr>
              <a:defRPr sz="1600">
                <a:solidFill>
                  <a:schemeClr val="accent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8">
            <a:extLst>
              <a:ext uri="{FF2B5EF4-FFF2-40B4-BE49-F238E27FC236}">
                <a16:creationId xmlns:a16="http://schemas.microsoft.com/office/drawing/2014/main" id="{CD918205-7518-ABBB-E53E-287EB7C712CD}"/>
              </a:ext>
            </a:extLst>
          </p:cNvPr>
          <p:cNvSpPr>
            <a:spLocks noGrp="1"/>
          </p:cNvSpPr>
          <p:nvPr>
            <p:ph sz="quarter" idx="11"/>
          </p:nvPr>
        </p:nvSpPr>
        <p:spPr>
          <a:xfrm>
            <a:off x="6574140" y="2394727"/>
            <a:ext cx="5124475"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86666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mparison Black Righ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a:off x="609600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1">
            <a:extLst>
              <a:ext uri="{FF2B5EF4-FFF2-40B4-BE49-F238E27FC236}">
                <a16:creationId xmlns:a16="http://schemas.microsoft.com/office/drawing/2014/main" id="{99929713-92BF-C5AE-255B-E700DC18B264}"/>
              </a:ext>
            </a:extLst>
          </p:cNvPr>
          <p:cNvSpPr>
            <a:spLocks noGrp="1"/>
          </p:cNvSpPr>
          <p:nvPr>
            <p:ph type="title"/>
          </p:nvPr>
        </p:nvSpPr>
        <p:spPr>
          <a:xfrm>
            <a:off x="493713" y="579438"/>
            <a:ext cx="5113896" cy="792162"/>
          </a:xfrm>
        </p:spPr>
        <p:txBody>
          <a:bodyPr>
            <a:noAutofit/>
          </a:bodyPr>
          <a:lstStyle>
            <a:lvl1pPr>
              <a:lnSpc>
                <a:spcPct val="85000"/>
              </a:lnSpc>
              <a:defRPr/>
            </a:lvl1pPr>
          </a:lstStyle>
          <a:p>
            <a:r>
              <a:rPr lang="en-US"/>
              <a:t>Click to edit Master title style</a:t>
            </a:r>
          </a:p>
        </p:txBody>
      </p:sp>
      <p:sp>
        <p:nvSpPr>
          <p:cNvPr id="5" name="Text Placeholder 12">
            <a:extLst>
              <a:ext uri="{FF2B5EF4-FFF2-40B4-BE49-F238E27FC236}">
                <a16:creationId xmlns:a16="http://schemas.microsoft.com/office/drawing/2014/main" id="{920AE283-D579-E34E-7789-64765852C9CF}"/>
              </a:ext>
            </a:extLst>
          </p:cNvPr>
          <p:cNvSpPr>
            <a:spLocks noGrp="1"/>
          </p:cNvSpPr>
          <p:nvPr>
            <p:ph type="body" sz="quarter" idx="14"/>
          </p:nvPr>
        </p:nvSpPr>
        <p:spPr>
          <a:xfrm>
            <a:off x="6567257" y="1382889"/>
            <a:ext cx="5131359" cy="336374"/>
          </a:xfrm>
        </p:spPr>
        <p:txBody>
          <a:bodyPr>
            <a:noAutofit/>
          </a:bodyPr>
          <a:lstStyle>
            <a:lvl1pPr marL="0" indent="0">
              <a:buNone/>
              <a:defRPr sz="2100">
                <a:solidFill>
                  <a:schemeClr val="bg1"/>
                </a:solidFill>
              </a:defRPr>
            </a:lvl1pPr>
          </a:lstStyle>
          <a:p>
            <a:pPr lvl="0"/>
            <a:r>
              <a:rPr lang="en-US"/>
              <a:t>Click to edit Master text styles</a:t>
            </a:r>
          </a:p>
        </p:txBody>
      </p:sp>
      <p:sp>
        <p:nvSpPr>
          <p:cNvPr id="9" name="Subtitle 2">
            <a:extLst>
              <a:ext uri="{FF2B5EF4-FFF2-40B4-BE49-F238E27FC236}">
                <a16:creationId xmlns:a16="http://schemas.microsoft.com/office/drawing/2014/main" id="{913D57F8-6390-CDE9-60EB-FC8B8483AA89}"/>
              </a:ext>
            </a:extLst>
          </p:cNvPr>
          <p:cNvSpPr>
            <a:spLocks noGrp="1"/>
          </p:cNvSpPr>
          <p:nvPr>
            <p:ph type="subTitle" idx="1"/>
          </p:nvPr>
        </p:nvSpPr>
        <p:spPr>
          <a:xfrm>
            <a:off x="493712" y="1371600"/>
            <a:ext cx="5113897" cy="347663"/>
          </a:xfrm>
        </p:spPr>
        <p:txBody>
          <a:bodyPr>
            <a:noAutofit/>
          </a:bodyPr>
          <a:lstStyle>
            <a:lvl1pPr marL="0" indent="0" algn="l">
              <a:buNone/>
              <a:defRPr sz="21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11">
            <a:extLst>
              <a:ext uri="{FF2B5EF4-FFF2-40B4-BE49-F238E27FC236}">
                <a16:creationId xmlns:a16="http://schemas.microsoft.com/office/drawing/2014/main" id="{FF517ECE-082F-3056-AFD9-60411B053E86}"/>
              </a:ext>
            </a:extLst>
          </p:cNvPr>
          <p:cNvSpPr>
            <a:spLocks noGrp="1"/>
          </p:cNvSpPr>
          <p:nvPr>
            <p:ph type="body" sz="quarter" idx="16"/>
          </p:nvPr>
        </p:nvSpPr>
        <p:spPr>
          <a:xfrm>
            <a:off x="6572250" y="579439"/>
            <a:ext cx="5126365" cy="792162"/>
          </a:xfrm>
        </p:spPr>
        <p:txBody>
          <a:bodyPr anchor="b">
            <a:noAutofit/>
          </a:bodyPr>
          <a:lstStyle>
            <a:lvl1pPr marL="0" indent="0">
              <a:lnSpc>
                <a:spcPct val="85000"/>
              </a:lnSpc>
              <a:buNone/>
              <a:defRPr sz="3400">
                <a:solidFill>
                  <a:schemeClr val="bg1"/>
                </a:solidFill>
                <a:latin typeface="+mn-lt"/>
              </a:defRPr>
            </a:lvl1pPr>
          </a:lstStyle>
          <a:p>
            <a:pPr lvl="0"/>
            <a:r>
              <a:rPr lang="en-US"/>
              <a:t>Click to edit Master text styles</a:t>
            </a:r>
          </a:p>
        </p:txBody>
      </p:sp>
      <p:sp>
        <p:nvSpPr>
          <p:cNvPr id="8" name="Footer Placeholder 66">
            <a:extLst>
              <a:ext uri="{FF2B5EF4-FFF2-40B4-BE49-F238E27FC236}">
                <a16:creationId xmlns:a16="http://schemas.microsoft.com/office/drawing/2014/main" id="{C84DD61B-4070-C209-5ED2-587D11C44E6E}"/>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12" name="Content Placeholder 18">
            <a:extLst>
              <a:ext uri="{FF2B5EF4-FFF2-40B4-BE49-F238E27FC236}">
                <a16:creationId xmlns:a16="http://schemas.microsoft.com/office/drawing/2014/main" id="{030F02E5-3A21-1A0B-347D-813FEE3EE26C}"/>
              </a:ext>
            </a:extLst>
          </p:cNvPr>
          <p:cNvSpPr>
            <a:spLocks noGrp="1"/>
          </p:cNvSpPr>
          <p:nvPr>
            <p:ph sz="quarter" idx="10"/>
          </p:nvPr>
        </p:nvSpPr>
        <p:spPr>
          <a:xfrm>
            <a:off x="493288" y="2397125"/>
            <a:ext cx="5124876" cy="37719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8">
            <a:extLst>
              <a:ext uri="{FF2B5EF4-FFF2-40B4-BE49-F238E27FC236}">
                <a16:creationId xmlns:a16="http://schemas.microsoft.com/office/drawing/2014/main" id="{D3E8E79D-E1D3-984B-5618-5734B3FFD598}"/>
              </a:ext>
            </a:extLst>
          </p:cNvPr>
          <p:cNvSpPr>
            <a:spLocks noGrp="1"/>
          </p:cNvSpPr>
          <p:nvPr>
            <p:ph sz="quarter" idx="11"/>
          </p:nvPr>
        </p:nvSpPr>
        <p:spPr>
          <a:xfrm>
            <a:off x="6574140" y="2394727"/>
            <a:ext cx="5124475" cy="3771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reeform: Shape 16">
            <a:extLst>
              <a:ext uri="{FF2B5EF4-FFF2-40B4-BE49-F238E27FC236}">
                <a16:creationId xmlns:a16="http://schemas.microsoft.com/office/drawing/2014/main" id="{27C4BAFF-333F-7E42-7723-267CF24F5150}"/>
              </a:ext>
            </a:extLst>
          </p:cNvPr>
          <p:cNvSpPr/>
          <p:nvPr/>
        </p:nvSpPr>
        <p:spPr>
          <a:xfrm>
            <a:off x="11180146" y="6513177"/>
            <a:ext cx="516913" cy="156999"/>
          </a:xfrm>
          <a:custGeom>
            <a:avLst/>
            <a:gdLst>
              <a:gd name="connsiteX0" fmla="*/ 0 w 516913"/>
              <a:gd name="connsiteY0" fmla="*/ 156999 h 156999"/>
              <a:gd name="connsiteX1" fmla="*/ 0 w 516913"/>
              <a:gd name="connsiteY1" fmla="*/ 44765 h 156999"/>
              <a:gd name="connsiteX2" fmla="*/ 5423 w 516913"/>
              <a:gd name="connsiteY2" fmla="*/ 31671 h 156999"/>
              <a:gd name="connsiteX3" fmla="*/ 31671 w 516913"/>
              <a:gd name="connsiteY3" fmla="*/ 5423 h 156999"/>
              <a:gd name="connsiteX4" fmla="*/ 44765 w 516913"/>
              <a:gd name="connsiteY4" fmla="*/ 0 h 156999"/>
              <a:gd name="connsiteX5" fmla="*/ 516913 w 516913"/>
              <a:gd name="connsiteY5" fmla="*/ 0 h 156999"/>
              <a:gd name="connsiteX6" fmla="*/ 516896 w 516913"/>
              <a:gd name="connsiteY6" fmla="*/ 112251 h 156999"/>
              <a:gd name="connsiteX7" fmla="*/ 511473 w 516913"/>
              <a:gd name="connsiteY7" fmla="*/ 125345 h 156999"/>
              <a:gd name="connsiteX8" fmla="*/ 485517 w 516913"/>
              <a:gd name="connsiteY8" fmla="*/ 151302 h 156999"/>
              <a:gd name="connsiteX9" fmla="*/ 472423 w 516913"/>
              <a:gd name="connsiteY9" fmla="*/ 156725 h 156999"/>
              <a:gd name="connsiteX10" fmla="*/ 0 w 516913"/>
              <a:gd name="connsiteY10" fmla="*/ 156999 h 156999"/>
              <a:gd name="connsiteX11" fmla="*/ 44765 w 516913"/>
              <a:gd name="connsiteY11" fmla="*/ 2403 h 156999"/>
              <a:gd name="connsiteX12" fmla="*/ 33370 w 516913"/>
              <a:gd name="connsiteY12" fmla="*/ 7122 h 156999"/>
              <a:gd name="connsiteX13" fmla="*/ 7122 w 516913"/>
              <a:gd name="connsiteY13" fmla="*/ 33370 h 156999"/>
              <a:gd name="connsiteX14" fmla="*/ 2403 w 516913"/>
              <a:gd name="connsiteY14" fmla="*/ 44765 h 156999"/>
              <a:gd name="connsiteX15" fmla="*/ 2403 w 516913"/>
              <a:gd name="connsiteY15" fmla="*/ 154597 h 156999"/>
              <a:gd name="connsiteX16" fmla="*/ 472423 w 516913"/>
              <a:gd name="connsiteY16" fmla="*/ 154322 h 156999"/>
              <a:gd name="connsiteX17" fmla="*/ 483818 w 516913"/>
              <a:gd name="connsiteY17" fmla="*/ 149603 h 156999"/>
              <a:gd name="connsiteX18" fmla="*/ 509774 w 516913"/>
              <a:gd name="connsiteY18" fmla="*/ 123646 h 156999"/>
              <a:gd name="connsiteX19" fmla="*/ 514494 w 516913"/>
              <a:gd name="connsiteY19" fmla="*/ 112251 h 156999"/>
              <a:gd name="connsiteX20" fmla="*/ 514511 w 516913"/>
              <a:gd name="connsiteY20" fmla="*/ 2403 h 156999"/>
              <a:gd name="connsiteX21" fmla="*/ 44765 w 516913"/>
              <a:gd name="connsiteY21" fmla="*/ 2403 h 15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6913" h="156999">
                <a:moveTo>
                  <a:pt x="0" y="156999"/>
                </a:moveTo>
                <a:lnTo>
                  <a:pt x="0" y="44765"/>
                </a:lnTo>
                <a:cubicBezTo>
                  <a:pt x="0" y="39891"/>
                  <a:pt x="1974" y="35120"/>
                  <a:pt x="5423" y="31671"/>
                </a:cubicBezTo>
                <a:lnTo>
                  <a:pt x="31671" y="5423"/>
                </a:lnTo>
                <a:cubicBezTo>
                  <a:pt x="35120" y="1974"/>
                  <a:pt x="39891" y="0"/>
                  <a:pt x="44765" y="0"/>
                </a:cubicBezTo>
                <a:lnTo>
                  <a:pt x="516913" y="0"/>
                </a:lnTo>
                <a:lnTo>
                  <a:pt x="516896" y="112251"/>
                </a:lnTo>
                <a:cubicBezTo>
                  <a:pt x="516896" y="117125"/>
                  <a:pt x="514923" y="121905"/>
                  <a:pt x="511473" y="125345"/>
                </a:cubicBezTo>
                <a:lnTo>
                  <a:pt x="485517" y="151302"/>
                </a:lnTo>
                <a:cubicBezTo>
                  <a:pt x="482068" y="154751"/>
                  <a:pt x="477297" y="156725"/>
                  <a:pt x="472423" y="156725"/>
                </a:cubicBezTo>
                <a:lnTo>
                  <a:pt x="0" y="156999"/>
                </a:lnTo>
                <a:close/>
                <a:moveTo>
                  <a:pt x="44765" y="2403"/>
                </a:moveTo>
                <a:cubicBezTo>
                  <a:pt x="40518" y="2403"/>
                  <a:pt x="36365" y="4119"/>
                  <a:pt x="33370" y="7122"/>
                </a:cubicBezTo>
                <a:lnTo>
                  <a:pt x="7122" y="33370"/>
                </a:lnTo>
                <a:cubicBezTo>
                  <a:pt x="4119" y="36373"/>
                  <a:pt x="2403" y="40526"/>
                  <a:pt x="2403" y="44765"/>
                </a:cubicBezTo>
                <a:lnTo>
                  <a:pt x="2403" y="154597"/>
                </a:lnTo>
                <a:lnTo>
                  <a:pt x="472423" y="154322"/>
                </a:lnTo>
                <a:cubicBezTo>
                  <a:pt x="476670" y="154322"/>
                  <a:pt x="480823" y="152606"/>
                  <a:pt x="483818" y="149603"/>
                </a:cubicBezTo>
                <a:lnTo>
                  <a:pt x="509774" y="123646"/>
                </a:lnTo>
                <a:cubicBezTo>
                  <a:pt x="512778" y="120643"/>
                  <a:pt x="514494" y="116490"/>
                  <a:pt x="514494" y="112251"/>
                </a:cubicBezTo>
                <a:lnTo>
                  <a:pt x="514511" y="2403"/>
                </a:lnTo>
                <a:lnTo>
                  <a:pt x="44765" y="2403"/>
                </a:lnTo>
                <a:close/>
              </a:path>
            </a:pathLst>
          </a:custGeom>
          <a:solidFill>
            <a:srgbClr val="FFFFFF"/>
          </a:solidFill>
          <a:ln w="854"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C4C45999-51C5-AFB7-459F-1EE998FDE39E}"/>
              </a:ext>
            </a:extLst>
          </p:cNvPr>
          <p:cNvSpPr/>
          <p:nvPr/>
        </p:nvSpPr>
        <p:spPr>
          <a:xfrm>
            <a:off x="11181484" y="6514378"/>
            <a:ext cx="385930" cy="154714"/>
          </a:xfrm>
          <a:custGeom>
            <a:avLst/>
            <a:gdLst>
              <a:gd name="connsiteX0" fmla="*/ 0 w 385930"/>
              <a:gd name="connsiteY0" fmla="*/ 58588 h 154714"/>
              <a:gd name="connsiteX1" fmla="*/ 0 w 385930"/>
              <a:gd name="connsiteY1" fmla="*/ 154605 h 154714"/>
              <a:gd name="connsiteX2" fmla="*/ 172282 w 385930"/>
              <a:gd name="connsiteY2" fmla="*/ 154605 h 154714"/>
              <a:gd name="connsiteX3" fmla="*/ 207016 w 385930"/>
              <a:gd name="connsiteY3" fmla="*/ 152143 h 154714"/>
              <a:gd name="connsiteX4" fmla="*/ 272349 w 385930"/>
              <a:gd name="connsiteY4" fmla="*/ 113358 h 154714"/>
              <a:gd name="connsiteX5" fmla="*/ 385930 w 385930"/>
              <a:gd name="connsiteY5" fmla="*/ 0 h 154714"/>
              <a:gd name="connsiteX6" fmla="*/ 214009 w 385930"/>
              <a:gd name="connsiteY6" fmla="*/ 17 h 154714"/>
              <a:gd name="connsiteX7" fmla="*/ 95579 w 385930"/>
              <a:gd name="connsiteY7" fmla="*/ 117966 h 154714"/>
              <a:gd name="connsiteX8" fmla="*/ 78676 w 385930"/>
              <a:gd name="connsiteY8" fmla="*/ 126452 h 154714"/>
              <a:gd name="connsiteX9" fmla="*/ 63445 w 385930"/>
              <a:gd name="connsiteY9" fmla="*/ 121364 h 154714"/>
              <a:gd name="connsiteX10" fmla="*/ 0 w 385930"/>
              <a:gd name="connsiteY10" fmla="*/ 58588 h 154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5930" h="154714">
                <a:moveTo>
                  <a:pt x="0" y="58588"/>
                </a:moveTo>
                <a:lnTo>
                  <a:pt x="0" y="154605"/>
                </a:lnTo>
                <a:lnTo>
                  <a:pt x="172282" y="154605"/>
                </a:lnTo>
                <a:cubicBezTo>
                  <a:pt x="172282" y="154605"/>
                  <a:pt x="191820" y="155506"/>
                  <a:pt x="207016" y="152143"/>
                </a:cubicBezTo>
                <a:cubicBezTo>
                  <a:pt x="234937" y="145965"/>
                  <a:pt x="251566" y="134141"/>
                  <a:pt x="272349" y="113358"/>
                </a:cubicBezTo>
                <a:cubicBezTo>
                  <a:pt x="307409" y="78281"/>
                  <a:pt x="385930" y="0"/>
                  <a:pt x="385930" y="0"/>
                </a:cubicBezTo>
                <a:lnTo>
                  <a:pt x="214009" y="17"/>
                </a:lnTo>
                <a:lnTo>
                  <a:pt x="95579" y="117966"/>
                </a:lnTo>
                <a:cubicBezTo>
                  <a:pt x="95579" y="117966"/>
                  <a:pt x="88458" y="126555"/>
                  <a:pt x="78676" y="126452"/>
                </a:cubicBezTo>
                <a:cubicBezTo>
                  <a:pt x="68053" y="126332"/>
                  <a:pt x="63445" y="121364"/>
                  <a:pt x="63445" y="121364"/>
                </a:cubicBezTo>
                <a:lnTo>
                  <a:pt x="0" y="58588"/>
                </a:lnTo>
                <a:close/>
              </a:path>
            </a:pathLst>
          </a:custGeom>
          <a:solidFill>
            <a:srgbClr val="FFFFFF">
              <a:alpha val="25000"/>
            </a:srgbClr>
          </a:solidFill>
          <a:ln w="854" cap="flat">
            <a:noFill/>
            <a:prstDash val="solid"/>
            <a:miter/>
          </a:ln>
        </p:spPr>
        <p:txBody>
          <a:bodyPr rtlCol="0" anchor="ctr"/>
          <a:lstStyle/>
          <a:p>
            <a:endParaRPr lang="en-US"/>
          </a:p>
        </p:txBody>
      </p:sp>
      <p:grpSp>
        <p:nvGrpSpPr>
          <p:cNvPr id="19" name="Graphic 13">
            <a:extLst>
              <a:ext uri="{FF2B5EF4-FFF2-40B4-BE49-F238E27FC236}">
                <a16:creationId xmlns:a16="http://schemas.microsoft.com/office/drawing/2014/main" id="{67F2EDC4-FCD4-1D23-EB68-2CB16F424738}"/>
              </a:ext>
            </a:extLst>
          </p:cNvPr>
          <p:cNvGrpSpPr/>
          <p:nvPr/>
        </p:nvGrpSpPr>
        <p:grpSpPr>
          <a:xfrm>
            <a:off x="11217977" y="6552879"/>
            <a:ext cx="432093" cy="77405"/>
            <a:chOff x="11217977" y="6552879"/>
            <a:chExt cx="432093" cy="77405"/>
          </a:xfrm>
          <a:solidFill>
            <a:srgbClr val="FFFFFF"/>
          </a:solidFill>
        </p:grpSpPr>
        <p:sp>
          <p:nvSpPr>
            <p:cNvPr id="21" name="Freeform: Shape 20">
              <a:extLst>
                <a:ext uri="{FF2B5EF4-FFF2-40B4-BE49-F238E27FC236}">
                  <a16:creationId xmlns:a16="http://schemas.microsoft.com/office/drawing/2014/main" id="{B7F6395B-FAED-8B44-547F-01E1E3E8DE01}"/>
                </a:ext>
              </a:extLst>
            </p:cNvPr>
            <p:cNvSpPr/>
            <p:nvPr/>
          </p:nvSpPr>
          <p:spPr>
            <a:xfrm>
              <a:off x="11217977" y="6554492"/>
              <a:ext cx="84553" cy="74230"/>
            </a:xfrm>
            <a:custGeom>
              <a:avLst/>
              <a:gdLst>
                <a:gd name="connsiteX0" fmla="*/ 35549 w 84553"/>
                <a:gd name="connsiteY0" fmla="*/ 74231 h 74230"/>
                <a:gd name="connsiteX1" fmla="*/ 0 w 84553"/>
                <a:gd name="connsiteY1" fmla="*/ 0 h 74230"/>
                <a:gd name="connsiteX2" fmla="*/ 16020 w 84553"/>
                <a:gd name="connsiteY2" fmla="*/ 0 h 74230"/>
                <a:gd name="connsiteX3" fmla="*/ 42045 w 84553"/>
                <a:gd name="connsiteY3" fmla="*/ 55825 h 74230"/>
                <a:gd name="connsiteX4" fmla="*/ 42354 w 84553"/>
                <a:gd name="connsiteY4" fmla="*/ 55825 h 74230"/>
                <a:gd name="connsiteX5" fmla="*/ 68379 w 84553"/>
                <a:gd name="connsiteY5" fmla="*/ 0 h 74230"/>
                <a:gd name="connsiteX6" fmla="*/ 84553 w 84553"/>
                <a:gd name="connsiteY6" fmla="*/ 0 h 74230"/>
                <a:gd name="connsiteX7" fmla="*/ 49004 w 84553"/>
                <a:gd name="connsiteY7" fmla="*/ 74231 h 74230"/>
                <a:gd name="connsiteX8" fmla="*/ 35532 w 84553"/>
                <a:gd name="connsiteY8" fmla="*/ 74231 h 7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553" h="74230">
                  <a:moveTo>
                    <a:pt x="35549" y="74231"/>
                  </a:moveTo>
                  <a:lnTo>
                    <a:pt x="0" y="0"/>
                  </a:lnTo>
                  <a:lnTo>
                    <a:pt x="16020" y="0"/>
                  </a:lnTo>
                  <a:cubicBezTo>
                    <a:pt x="16020" y="0"/>
                    <a:pt x="41427" y="53140"/>
                    <a:pt x="42045" y="55825"/>
                  </a:cubicBezTo>
                  <a:lnTo>
                    <a:pt x="42354" y="55825"/>
                  </a:lnTo>
                  <a:cubicBezTo>
                    <a:pt x="42989" y="53131"/>
                    <a:pt x="68379" y="0"/>
                    <a:pt x="68379" y="0"/>
                  </a:cubicBezTo>
                  <a:lnTo>
                    <a:pt x="84553" y="0"/>
                  </a:lnTo>
                  <a:lnTo>
                    <a:pt x="49004" y="74231"/>
                  </a:lnTo>
                  <a:lnTo>
                    <a:pt x="35532" y="74231"/>
                  </a:lnTo>
                  <a:close/>
                </a:path>
              </a:pathLst>
            </a:custGeom>
            <a:solidFill>
              <a:srgbClr val="FFFFFF"/>
            </a:solidFill>
            <a:ln w="85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9A50CB50-2E0F-D927-83CC-3D3AAF4D0EB5}"/>
                </a:ext>
              </a:extLst>
            </p:cNvPr>
            <p:cNvSpPr/>
            <p:nvPr/>
          </p:nvSpPr>
          <p:spPr>
            <a:xfrm>
              <a:off x="11298755" y="6552879"/>
              <a:ext cx="72960" cy="77397"/>
            </a:xfrm>
            <a:custGeom>
              <a:avLst/>
              <a:gdLst>
                <a:gd name="connsiteX0" fmla="*/ 72635 w 72960"/>
                <a:gd name="connsiteY0" fmla="*/ 44422 h 77397"/>
                <a:gd name="connsiteX1" fmla="*/ 15068 w 72960"/>
                <a:gd name="connsiteY1" fmla="*/ 44422 h 77397"/>
                <a:gd name="connsiteX2" fmla="*/ 37437 w 72960"/>
                <a:gd name="connsiteY2" fmla="*/ 64080 h 77397"/>
                <a:gd name="connsiteX3" fmla="*/ 56152 w 72960"/>
                <a:gd name="connsiteY3" fmla="*/ 53612 h 77397"/>
                <a:gd name="connsiteX4" fmla="*/ 71056 w 72960"/>
                <a:gd name="connsiteY4" fmla="*/ 53612 h 77397"/>
                <a:gd name="connsiteX5" fmla="*/ 37429 w 72960"/>
                <a:gd name="connsiteY5" fmla="*/ 77397 h 77397"/>
                <a:gd name="connsiteX6" fmla="*/ 0 w 72960"/>
                <a:gd name="connsiteY6" fmla="*/ 38699 h 77397"/>
                <a:gd name="connsiteX7" fmla="*/ 37429 w 72960"/>
                <a:gd name="connsiteY7" fmla="*/ 0 h 77397"/>
                <a:gd name="connsiteX8" fmla="*/ 72961 w 72960"/>
                <a:gd name="connsiteY8" fmla="*/ 38699 h 77397"/>
                <a:gd name="connsiteX9" fmla="*/ 72652 w 72960"/>
                <a:gd name="connsiteY9" fmla="*/ 44422 h 77397"/>
                <a:gd name="connsiteX10" fmla="*/ 15222 w 72960"/>
                <a:gd name="connsiteY10" fmla="*/ 32366 h 77397"/>
                <a:gd name="connsiteX11" fmla="*/ 57893 w 72960"/>
                <a:gd name="connsiteY11" fmla="*/ 32366 h 77397"/>
                <a:gd name="connsiteX12" fmla="*/ 37437 w 72960"/>
                <a:gd name="connsiteY12" fmla="*/ 13343 h 77397"/>
                <a:gd name="connsiteX13" fmla="*/ 15222 w 72960"/>
                <a:gd name="connsiteY13" fmla="*/ 32366 h 7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960" h="77397">
                  <a:moveTo>
                    <a:pt x="72635" y="44422"/>
                  </a:moveTo>
                  <a:lnTo>
                    <a:pt x="15068" y="44422"/>
                  </a:lnTo>
                  <a:cubicBezTo>
                    <a:pt x="17135" y="56478"/>
                    <a:pt x="25999" y="64080"/>
                    <a:pt x="37437" y="64080"/>
                  </a:cubicBezTo>
                  <a:cubicBezTo>
                    <a:pt x="46799" y="64080"/>
                    <a:pt x="52977" y="60425"/>
                    <a:pt x="56152" y="53612"/>
                  </a:cubicBezTo>
                  <a:lnTo>
                    <a:pt x="71056" y="53612"/>
                  </a:lnTo>
                  <a:cubicBezTo>
                    <a:pt x="66603" y="67718"/>
                    <a:pt x="53775" y="77397"/>
                    <a:pt x="37429" y="77397"/>
                  </a:cubicBezTo>
                  <a:cubicBezTo>
                    <a:pt x="15857" y="77397"/>
                    <a:pt x="0" y="61703"/>
                    <a:pt x="0" y="38699"/>
                  </a:cubicBezTo>
                  <a:cubicBezTo>
                    <a:pt x="0" y="15694"/>
                    <a:pt x="15539" y="0"/>
                    <a:pt x="37429" y="0"/>
                  </a:cubicBezTo>
                  <a:cubicBezTo>
                    <a:pt x="56932" y="0"/>
                    <a:pt x="72961" y="16664"/>
                    <a:pt x="72961" y="38699"/>
                  </a:cubicBezTo>
                  <a:cubicBezTo>
                    <a:pt x="72961" y="40921"/>
                    <a:pt x="72961" y="42199"/>
                    <a:pt x="72652" y="44422"/>
                  </a:cubicBezTo>
                  <a:close/>
                  <a:moveTo>
                    <a:pt x="15222" y="32366"/>
                  </a:moveTo>
                  <a:lnTo>
                    <a:pt x="57893" y="32366"/>
                  </a:lnTo>
                  <a:cubicBezTo>
                    <a:pt x="56941" y="22207"/>
                    <a:pt x="48704" y="13343"/>
                    <a:pt x="37437" y="13343"/>
                  </a:cubicBezTo>
                  <a:cubicBezTo>
                    <a:pt x="25999" y="13326"/>
                    <a:pt x="17427" y="20791"/>
                    <a:pt x="15222" y="32366"/>
                  </a:cubicBezTo>
                  <a:close/>
                </a:path>
              </a:pathLst>
            </a:custGeom>
            <a:solidFill>
              <a:srgbClr val="FFFFFF"/>
            </a:solidFill>
            <a:ln w="854"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BDAB4271-616D-B208-A85C-D14751FE8063}"/>
                </a:ext>
              </a:extLst>
            </p:cNvPr>
            <p:cNvSpPr/>
            <p:nvPr/>
          </p:nvSpPr>
          <p:spPr>
            <a:xfrm>
              <a:off x="11377723" y="6552879"/>
              <a:ext cx="72960" cy="77397"/>
            </a:xfrm>
            <a:custGeom>
              <a:avLst/>
              <a:gdLst>
                <a:gd name="connsiteX0" fmla="*/ 72635 w 72960"/>
                <a:gd name="connsiteY0" fmla="*/ 44422 h 77397"/>
                <a:gd name="connsiteX1" fmla="*/ 15068 w 72960"/>
                <a:gd name="connsiteY1" fmla="*/ 44422 h 77397"/>
                <a:gd name="connsiteX2" fmla="*/ 37437 w 72960"/>
                <a:gd name="connsiteY2" fmla="*/ 64080 h 77397"/>
                <a:gd name="connsiteX3" fmla="*/ 56152 w 72960"/>
                <a:gd name="connsiteY3" fmla="*/ 53612 h 77397"/>
                <a:gd name="connsiteX4" fmla="*/ 71056 w 72960"/>
                <a:gd name="connsiteY4" fmla="*/ 53612 h 77397"/>
                <a:gd name="connsiteX5" fmla="*/ 37429 w 72960"/>
                <a:gd name="connsiteY5" fmla="*/ 77397 h 77397"/>
                <a:gd name="connsiteX6" fmla="*/ 0 w 72960"/>
                <a:gd name="connsiteY6" fmla="*/ 38699 h 77397"/>
                <a:gd name="connsiteX7" fmla="*/ 37429 w 72960"/>
                <a:gd name="connsiteY7" fmla="*/ 0 h 77397"/>
                <a:gd name="connsiteX8" fmla="*/ 72961 w 72960"/>
                <a:gd name="connsiteY8" fmla="*/ 38699 h 77397"/>
                <a:gd name="connsiteX9" fmla="*/ 72652 w 72960"/>
                <a:gd name="connsiteY9" fmla="*/ 44422 h 77397"/>
                <a:gd name="connsiteX10" fmla="*/ 15222 w 72960"/>
                <a:gd name="connsiteY10" fmla="*/ 32366 h 77397"/>
                <a:gd name="connsiteX11" fmla="*/ 57893 w 72960"/>
                <a:gd name="connsiteY11" fmla="*/ 32366 h 77397"/>
                <a:gd name="connsiteX12" fmla="*/ 37437 w 72960"/>
                <a:gd name="connsiteY12" fmla="*/ 13343 h 77397"/>
                <a:gd name="connsiteX13" fmla="*/ 15222 w 72960"/>
                <a:gd name="connsiteY13" fmla="*/ 32366 h 7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960" h="77397">
                  <a:moveTo>
                    <a:pt x="72635" y="44422"/>
                  </a:moveTo>
                  <a:lnTo>
                    <a:pt x="15068" y="44422"/>
                  </a:lnTo>
                  <a:cubicBezTo>
                    <a:pt x="17135" y="56478"/>
                    <a:pt x="25999" y="64080"/>
                    <a:pt x="37437" y="64080"/>
                  </a:cubicBezTo>
                  <a:cubicBezTo>
                    <a:pt x="46799" y="64080"/>
                    <a:pt x="52977" y="60425"/>
                    <a:pt x="56152" y="53612"/>
                  </a:cubicBezTo>
                  <a:lnTo>
                    <a:pt x="71056" y="53612"/>
                  </a:lnTo>
                  <a:cubicBezTo>
                    <a:pt x="66603" y="67718"/>
                    <a:pt x="53775" y="77397"/>
                    <a:pt x="37429" y="77397"/>
                  </a:cubicBezTo>
                  <a:cubicBezTo>
                    <a:pt x="15857" y="77397"/>
                    <a:pt x="0" y="61703"/>
                    <a:pt x="0" y="38699"/>
                  </a:cubicBezTo>
                  <a:cubicBezTo>
                    <a:pt x="0" y="15694"/>
                    <a:pt x="15539" y="0"/>
                    <a:pt x="37429" y="0"/>
                  </a:cubicBezTo>
                  <a:cubicBezTo>
                    <a:pt x="56932" y="0"/>
                    <a:pt x="72961" y="16664"/>
                    <a:pt x="72961" y="38699"/>
                  </a:cubicBezTo>
                  <a:cubicBezTo>
                    <a:pt x="72961" y="40921"/>
                    <a:pt x="72961" y="42199"/>
                    <a:pt x="72652" y="44422"/>
                  </a:cubicBezTo>
                  <a:close/>
                  <a:moveTo>
                    <a:pt x="15222" y="32366"/>
                  </a:moveTo>
                  <a:lnTo>
                    <a:pt x="57893" y="32366"/>
                  </a:lnTo>
                  <a:cubicBezTo>
                    <a:pt x="56941" y="22207"/>
                    <a:pt x="48704" y="13343"/>
                    <a:pt x="37437" y="13343"/>
                  </a:cubicBezTo>
                  <a:cubicBezTo>
                    <a:pt x="25999" y="13326"/>
                    <a:pt x="17444" y="20791"/>
                    <a:pt x="15222" y="32366"/>
                  </a:cubicBezTo>
                  <a:close/>
                </a:path>
              </a:pathLst>
            </a:custGeom>
            <a:solidFill>
              <a:srgbClr val="FFFFFF"/>
            </a:solidFill>
            <a:ln w="85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70B5B143-F251-2BE9-F6F9-ABB0BB0CC29B}"/>
                </a:ext>
              </a:extLst>
            </p:cNvPr>
            <p:cNvSpPr/>
            <p:nvPr/>
          </p:nvSpPr>
          <p:spPr>
            <a:xfrm>
              <a:off x="11456536" y="6552888"/>
              <a:ext cx="74556" cy="77397"/>
            </a:xfrm>
            <a:custGeom>
              <a:avLst/>
              <a:gdLst>
                <a:gd name="connsiteX0" fmla="*/ 74557 w 74556"/>
                <a:gd name="connsiteY0" fmla="*/ 38699 h 77397"/>
                <a:gd name="connsiteX1" fmla="*/ 74557 w 74556"/>
                <a:gd name="connsiteY1" fmla="*/ 75810 h 77397"/>
                <a:gd name="connsiteX2" fmla="*/ 61712 w 74556"/>
                <a:gd name="connsiteY2" fmla="*/ 75810 h 77397"/>
                <a:gd name="connsiteX3" fmla="*/ 60433 w 74556"/>
                <a:gd name="connsiteY3" fmla="*/ 64234 h 77397"/>
                <a:gd name="connsiteX4" fmla="*/ 35687 w 74556"/>
                <a:gd name="connsiteY4" fmla="*/ 77397 h 77397"/>
                <a:gd name="connsiteX5" fmla="*/ 0 w 74556"/>
                <a:gd name="connsiteY5" fmla="*/ 38699 h 77397"/>
                <a:gd name="connsiteX6" fmla="*/ 37583 w 74556"/>
                <a:gd name="connsiteY6" fmla="*/ 0 h 77397"/>
                <a:gd name="connsiteX7" fmla="*/ 74557 w 74556"/>
                <a:gd name="connsiteY7" fmla="*/ 38699 h 77397"/>
                <a:gd name="connsiteX8" fmla="*/ 59953 w 74556"/>
                <a:gd name="connsiteY8" fmla="*/ 38699 h 77397"/>
                <a:gd name="connsiteX9" fmla="*/ 37583 w 74556"/>
                <a:gd name="connsiteY9" fmla="*/ 13326 h 77397"/>
                <a:gd name="connsiteX10" fmla="*/ 14596 w 74556"/>
                <a:gd name="connsiteY10" fmla="*/ 38699 h 77397"/>
                <a:gd name="connsiteX11" fmla="*/ 37583 w 74556"/>
                <a:gd name="connsiteY11" fmla="*/ 64071 h 77397"/>
                <a:gd name="connsiteX12" fmla="*/ 59953 w 74556"/>
                <a:gd name="connsiteY12" fmla="*/ 38699 h 7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556" h="77397">
                  <a:moveTo>
                    <a:pt x="74557" y="38699"/>
                  </a:moveTo>
                  <a:lnTo>
                    <a:pt x="74557" y="75810"/>
                  </a:lnTo>
                  <a:lnTo>
                    <a:pt x="61712" y="75810"/>
                  </a:lnTo>
                  <a:lnTo>
                    <a:pt x="60433" y="64234"/>
                  </a:lnTo>
                  <a:cubicBezTo>
                    <a:pt x="54727" y="72806"/>
                    <a:pt x="44739" y="77397"/>
                    <a:pt x="35687" y="77397"/>
                  </a:cubicBezTo>
                  <a:cubicBezTo>
                    <a:pt x="15385" y="77397"/>
                    <a:pt x="0" y="61223"/>
                    <a:pt x="0" y="38699"/>
                  </a:cubicBezTo>
                  <a:cubicBezTo>
                    <a:pt x="0" y="16174"/>
                    <a:pt x="16492" y="0"/>
                    <a:pt x="37583" y="0"/>
                  </a:cubicBezTo>
                  <a:cubicBezTo>
                    <a:pt x="56950" y="0"/>
                    <a:pt x="74557" y="13952"/>
                    <a:pt x="74557" y="38699"/>
                  </a:cubicBezTo>
                  <a:close/>
                  <a:moveTo>
                    <a:pt x="59953" y="38699"/>
                  </a:moveTo>
                  <a:cubicBezTo>
                    <a:pt x="59953" y="22370"/>
                    <a:pt x="49176" y="13326"/>
                    <a:pt x="37583" y="13326"/>
                  </a:cubicBezTo>
                  <a:cubicBezTo>
                    <a:pt x="24892" y="13326"/>
                    <a:pt x="14596" y="23485"/>
                    <a:pt x="14596" y="38699"/>
                  </a:cubicBezTo>
                  <a:cubicBezTo>
                    <a:pt x="14596" y="53912"/>
                    <a:pt x="24120" y="64071"/>
                    <a:pt x="37583" y="64071"/>
                  </a:cubicBezTo>
                  <a:cubicBezTo>
                    <a:pt x="49021" y="64071"/>
                    <a:pt x="59953" y="54547"/>
                    <a:pt x="59953" y="38699"/>
                  </a:cubicBezTo>
                  <a:close/>
                </a:path>
              </a:pathLst>
            </a:custGeom>
            <a:solidFill>
              <a:srgbClr val="FFFFFF"/>
            </a:solidFill>
            <a:ln w="85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A7531875-D653-0EB7-6941-CD61A183CC12}"/>
                </a:ext>
              </a:extLst>
            </p:cNvPr>
            <p:cNvSpPr/>
            <p:nvPr/>
          </p:nvSpPr>
          <p:spPr>
            <a:xfrm>
              <a:off x="11540926" y="6552913"/>
              <a:ext cx="109145" cy="75946"/>
            </a:xfrm>
            <a:custGeom>
              <a:avLst/>
              <a:gdLst>
                <a:gd name="connsiteX0" fmla="*/ 0 w 109145"/>
                <a:gd name="connsiteY0" fmla="*/ 75792 h 75946"/>
                <a:gd name="connsiteX1" fmla="*/ 0 w 109145"/>
                <a:gd name="connsiteY1" fmla="*/ 31868 h 75946"/>
                <a:gd name="connsiteX2" fmla="*/ 30461 w 109145"/>
                <a:gd name="connsiteY2" fmla="*/ 0 h 75946"/>
                <a:gd name="connsiteX3" fmla="*/ 54418 w 109145"/>
                <a:gd name="connsiteY3" fmla="*/ 13489 h 75946"/>
                <a:gd name="connsiteX4" fmla="*/ 54727 w 109145"/>
                <a:gd name="connsiteY4" fmla="*/ 13489 h 75946"/>
                <a:gd name="connsiteX5" fmla="*/ 78684 w 109145"/>
                <a:gd name="connsiteY5" fmla="*/ 0 h 75946"/>
                <a:gd name="connsiteX6" fmla="*/ 109145 w 109145"/>
                <a:gd name="connsiteY6" fmla="*/ 31868 h 75946"/>
                <a:gd name="connsiteX7" fmla="*/ 109145 w 109145"/>
                <a:gd name="connsiteY7" fmla="*/ 75792 h 75946"/>
                <a:gd name="connsiteX8" fmla="*/ 94558 w 109145"/>
                <a:gd name="connsiteY8" fmla="*/ 75792 h 75946"/>
                <a:gd name="connsiteX9" fmla="*/ 94558 w 109145"/>
                <a:gd name="connsiteY9" fmla="*/ 32967 h 75946"/>
                <a:gd name="connsiteX10" fmla="*/ 78229 w 109145"/>
                <a:gd name="connsiteY10" fmla="*/ 13617 h 75946"/>
                <a:gd name="connsiteX11" fmla="*/ 61901 w 109145"/>
                <a:gd name="connsiteY11" fmla="*/ 33276 h 75946"/>
                <a:gd name="connsiteX12" fmla="*/ 61901 w 109145"/>
                <a:gd name="connsiteY12" fmla="*/ 75947 h 75946"/>
                <a:gd name="connsiteX13" fmla="*/ 47314 w 109145"/>
                <a:gd name="connsiteY13" fmla="*/ 75947 h 75946"/>
                <a:gd name="connsiteX14" fmla="*/ 47314 w 109145"/>
                <a:gd name="connsiteY14" fmla="*/ 33276 h 75946"/>
                <a:gd name="connsiteX15" fmla="*/ 30985 w 109145"/>
                <a:gd name="connsiteY15" fmla="*/ 13617 h 75946"/>
                <a:gd name="connsiteX16" fmla="*/ 14656 w 109145"/>
                <a:gd name="connsiteY16" fmla="*/ 32967 h 75946"/>
                <a:gd name="connsiteX17" fmla="*/ 14656 w 109145"/>
                <a:gd name="connsiteY17" fmla="*/ 75792 h 75946"/>
                <a:gd name="connsiteX18" fmla="*/ 34 w 109145"/>
                <a:gd name="connsiteY18" fmla="*/ 75792 h 75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145" h="75946">
                  <a:moveTo>
                    <a:pt x="0" y="75792"/>
                  </a:moveTo>
                  <a:lnTo>
                    <a:pt x="0" y="31868"/>
                  </a:lnTo>
                  <a:cubicBezTo>
                    <a:pt x="0" y="13309"/>
                    <a:pt x="11901" y="0"/>
                    <a:pt x="30461" y="0"/>
                  </a:cubicBezTo>
                  <a:cubicBezTo>
                    <a:pt x="45366" y="0"/>
                    <a:pt x="53294" y="9988"/>
                    <a:pt x="54418" y="13489"/>
                  </a:cubicBezTo>
                  <a:lnTo>
                    <a:pt x="54727" y="13489"/>
                  </a:lnTo>
                  <a:cubicBezTo>
                    <a:pt x="55834" y="10005"/>
                    <a:pt x="63763" y="0"/>
                    <a:pt x="78684" y="0"/>
                  </a:cubicBezTo>
                  <a:cubicBezTo>
                    <a:pt x="97244" y="0"/>
                    <a:pt x="109145" y="13317"/>
                    <a:pt x="109145" y="31868"/>
                  </a:cubicBezTo>
                  <a:lnTo>
                    <a:pt x="109145" y="75792"/>
                  </a:lnTo>
                  <a:lnTo>
                    <a:pt x="94558" y="75792"/>
                  </a:lnTo>
                  <a:lnTo>
                    <a:pt x="94558" y="32967"/>
                  </a:lnTo>
                  <a:cubicBezTo>
                    <a:pt x="94558" y="20911"/>
                    <a:pt x="89161" y="13617"/>
                    <a:pt x="78229" y="13617"/>
                  </a:cubicBezTo>
                  <a:cubicBezTo>
                    <a:pt x="67298" y="13617"/>
                    <a:pt x="61901" y="20911"/>
                    <a:pt x="61901" y="33276"/>
                  </a:cubicBezTo>
                  <a:lnTo>
                    <a:pt x="61901" y="75947"/>
                  </a:lnTo>
                  <a:lnTo>
                    <a:pt x="47314" y="75947"/>
                  </a:lnTo>
                  <a:lnTo>
                    <a:pt x="47314" y="33276"/>
                  </a:lnTo>
                  <a:cubicBezTo>
                    <a:pt x="47314" y="20911"/>
                    <a:pt x="41916" y="13617"/>
                    <a:pt x="30985" y="13617"/>
                  </a:cubicBezTo>
                  <a:cubicBezTo>
                    <a:pt x="20053" y="13617"/>
                    <a:pt x="14656" y="20911"/>
                    <a:pt x="14656" y="32967"/>
                  </a:cubicBezTo>
                  <a:lnTo>
                    <a:pt x="14656" y="75792"/>
                  </a:lnTo>
                  <a:lnTo>
                    <a:pt x="34" y="75792"/>
                  </a:lnTo>
                  <a:close/>
                </a:path>
              </a:pathLst>
            </a:custGeom>
            <a:solidFill>
              <a:srgbClr val="FFFFFF"/>
            </a:solidFill>
            <a:ln w="854" cap="flat">
              <a:noFill/>
              <a:prstDash val="solid"/>
              <a:miter/>
            </a:ln>
          </p:spPr>
          <p:txBody>
            <a:bodyPr rtlCol="0" anchor="ctr"/>
            <a:lstStyle/>
            <a:p>
              <a:endParaRPr lang="en-US"/>
            </a:p>
          </p:txBody>
        </p:sp>
      </p:grpSp>
    </p:spTree>
    <p:extLst>
      <p:ext uri="{BB962C8B-B14F-4D97-AF65-F5344CB8AC3E}">
        <p14:creationId xmlns:p14="http://schemas.microsoft.com/office/powerpoint/2010/main" val="257181975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mparison Black Lef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flipH="1">
            <a:off x="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1">
            <a:extLst>
              <a:ext uri="{FF2B5EF4-FFF2-40B4-BE49-F238E27FC236}">
                <a16:creationId xmlns:a16="http://schemas.microsoft.com/office/drawing/2014/main" id="{99929713-92BF-C5AE-255B-E700DC18B264}"/>
              </a:ext>
            </a:extLst>
          </p:cNvPr>
          <p:cNvSpPr>
            <a:spLocks noGrp="1"/>
          </p:cNvSpPr>
          <p:nvPr>
            <p:ph type="title"/>
          </p:nvPr>
        </p:nvSpPr>
        <p:spPr>
          <a:xfrm>
            <a:off x="493713" y="579438"/>
            <a:ext cx="5113896" cy="792162"/>
          </a:xfrm>
        </p:spPr>
        <p:txBody>
          <a:bodyPr>
            <a:noAutofit/>
          </a:bodyPr>
          <a:lstStyle>
            <a:lvl1pPr>
              <a:lnSpc>
                <a:spcPct val="85000"/>
              </a:lnSpc>
              <a:defRPr>
                <a:solidFill>
                  <a:schemeClr val="bg1"/>
                </a:solidFill>
              </a:defRPr>
            </a:lvl1pPr>
          </a:lstStyle>
          <a:p>
            <a:r>
              <a:rPr lang="en-US"/>
              <a:t>Click to edit Master title style</a:t>
            </a:r>
          </a:p>
        </p:txBody>
      </p:sp>
      <p:sp>
        <p:nvSpPr>
          <p:cNvPr id="5" name="Text Placeholder 12">
            <a:extLst>
              <a:ext uri="{FF2B5EF4-FFF2-40B4-BE49-F238E27FC236}">
                <a16:creationId xmlns:a16="http://schemas.microsoft.com/office/drawing/2014/main" id="{920AE283-D579-E34E-7789-64765852C9CF}"/>
              </a:ext>
            </a:extLst>
          </p:cNvPr>
          <p:cNvSpPr>
            <a:spLocks noGrp="1"/>
          </p:cNvSpPr>
          <p:nvPr>
            <p:ph type="body" sz="quarter" idx="14"/>
          </p:nvPr>
        </p:nvSpPr>
        <p:spPr>
          <a:xfrm>
            <a:off x="6567257" y="1382889"/>
            <a:ext cx="5131359" cy="336374"/>
          </a:xfrm>
        </p:spPr>
        <p:txBody>
          <a:bodyPr>
            <a:noAutofit/>
          </a:bodyPr>
          <a:lstStyle>
            <a:lvl1pPr marL="0" indent="0">
              <a:buNone/>
              <a:defRPr sz="2100">
                <a:solidFill>
                  <a:schemeClr val="tx1"/>
                </a:solidFill>
              </a:defRPr>
            </a:lvl1pPr>
          </a:lstStyle>
          <a:p>
            <a:pPr lvl="0"/>
            <a:r>
              <a:rPr lang="en-US"/>
              <a:t>Click to edit Master text styles</a:t>
            </a:r>
          </a:p>
        </p:txBody>
      </p:sp>
      <p:sp>
        <p:nvSpPr>
          <p:cNvPr id="9" name="Subtitle 2">
            <a:extLst>
              <a:ext uri="{FF2B5EF4-FFF2-40B4-BE49-F238E27FC236}">
                <a16:creationId xmlns:a16="http://schemas.microsoft.com/office/drawing/2014/main" id="{913D57F8-6390-CDE9-60EB-FC8B8483AA89}"/>
              </a:ext>
            </a:extLst>
          </p:cNvPr>
          <p:cNvSpPr>
            <a:spLocks noGrp="1"/>
          </p:cNvSpPr>
          <p:nvPr>
            <p:ph type="subTitle" idx="1"/>
          </p:nvPr>
        </p:nvSpPr>
        <p:spPr>
          <a:xfrm>
            <a:off x="493712" y="1371600"/>
            <a:ext cx="5113897" cy="347663"/>
          </a:xfrm>
        </p:spPr>
        <p:txBody>
          <a:bodyPr>
            <a:noAutofit/>
          </a:bodyPr>
          <a:lstStyle>
            <a:lvl1pPr marL="0" indent="0" algn="l">
              <a:buNone/>
              <a:defRPr sz="2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11">
            <a:extLst>
              <a:ext uri="{FF2B5EF4-FFF2-40B4-BE49-F238E27FC236}">
                <a16:creationId xmlns:a16="http://schemas.microsoft.com/office/drawing/2014/main" id="{FF517ECE-082F-3056-AFD9-60411B053E86}"/>
              </a:ext>
            </a:extLst>
          </p:cNvPr>
          <p:cNvSpPr>
            <a:spLocks noGrp="1"/>
          </p:cNvSpPr>
          <p:nvPr>
            <p:ph type="body" sz="quarter" idx="16"/>
          </p:nvPr>
        </p:nvSpPr>
        <p:spPr>
          <a:xfrm>
            <a:off x="6572250" y="579439"/>
            <a:ext cx="5126365" cy="792162"/>
          </a:xfrm>
        </p:spPr>
        <p:txBody>
          <a:bodyPr anchor="b">
            <a:noAutofit/>
          </a:bodyPr>
          <a:lstStyle>
            <a:lvl1pPr marL="0" indent="0">
              <a:lnSpc>
                <a:spcPct val="85000"/>
              </a:lnSpc>
              <a:buNone/>
              <a:defRPr sz="3400">
                <a:solidFill>
                  <a:schemeClr val="tx1"/>
                </a:solidFill>
                <a:latin typeface="+mn-lt"/>
              </a:defRPr>
            </a:lvl1pPr>
          </a:lstStyle>
          <a:p>
            <a:pPr lvl="0"/>
            <a:r>
              <a:rPr lang="en-US"/>
              <a:t>Click to edit Master text styles</a:t>
            </a:r>
          </a:p>
        </p:txBody>
      </p:sp>
      <p:sp>
        <p:nvSpPr>
          <p:cNvPr id="8" name="Footer Placeholder 66">
            <a:extLst>
              <a:ext uri="{FF2B5EF4-FFF2-40B4-BE49-F238E27FC236}">
                <a16:creationId xmlns:a16="http://schemas.microsoft.com/office/drawing/2014/main" id="{C84DD61B-4070-C209-5ED2-587D11C44E6E}"/>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bg1"/>
                </a:solidFill>
              </a:defRPr>
            </a:lvl1pPr>
          </a:lstStyle>
          <a:p>
            <a:endParaRPr lang="en-US"/>
          </a:p>
        </p:txBody>
      </p:sp>
      <p:sp>
        <p:nvSpPr>
          <p:cNvPr id="2" name="Content Placeholder 18">
            <a:extLst>
              <a:ext uri="{FF2B5EF4-FFF2-40B4-BE49-F238E27FC236}">
                <a16:creationId xmlns:a16="http://schemas.microsoft.com/office/drawing/2014/main" id="{F582D2F8-1181-5FCC-997C-48991667BBB5}"/>
              </a:ext>
            </a:extLst>
          </p:cNvPr>
          <p:cNvSpPr>
            <a:spLocks noGrp="1"/>
          </p:cNvSpPr>
          <p:nvPr>
            <p:ph sz="quarter" idx="10"/>
          </p:nvPr>
        </p:nvSpPr>
        <p:spPr>
          <a:xfrm>
            <a:off x="493288" y="2397125"/>
            <a:ext cx="5124876" cy="3771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8">
            <a:extLst>
              <a:ext uri="{FF2B5EF4-FFF2-40B4-BE49-F238E27FC236}">
                <a16:creationId xmlns:a16="http://schemas.microsoft.com/office/drawing/2014/main" id="{101158F9-1BE5-6CCB-9F66-3D2F595BCE66}"/>
              </a:ext>
            </a:extLst>
          </p:cNvPr>
          <p:cNvSpPr>
            <a:spLocks noGrp="1"/>
          </p:cNvSpPr>
          <p:nvPr>
            <p:ph sz="quarter" idx="11"/>
          </p:nvPr>
        </p:nvSpPr>
        <p:spPr>
          <a:xfrm>
            <a:off x="6574140" y="2394727"/>
            <a:ext cx="5124475" cy="37719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59D19012-2F00-B026-AF1B-C0B1AAA46A1C}"/>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2196669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lumn Viridi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4A960-1966-68C3-41FC-594A6B88CA23}"/>
              </a:ext>
            </a:extLst>
          </p:cNvPr>
          <p:cNvSpPr>
            <a:spLocks noGrp="1"/>
          </p:cNvSpPr>
          <p:nvPr>
            <p:ph type="title"/>
          </p:nvPr>
        </p:nvSpPr>
        <p:spPr/>
        <p:txBody>
          <a:bodyPr anchor="t"/>
          <a:lstStyle/>
          <a:p>
            <a:r>
              <a:rPr lang="en-US"/>
              <a:t>Click to edit Master title style</a:t>
            </a:r>
          </a:p>
        </p:txBody>
      </p:sp>
      <p:sp>
        <p:nvSpPr>
          <p:cNvPr id="3" name="Footer Placeholder 2">
            <a:extLst>
              <a:ext uri="{FF2B5EF4-FFF2-40B4-BE49-F238E27FC236}">
                <a16:creationId xmlns:a16="http://schemas.microsoft.com/office/drawing/2014/main" id="{82B7DAF8-F6A7-6F6B-9B22-E657CE551EDD}"/>
              </a:ext>
            </a:extLst>
          </p:cNvPr>
          <p:cNvSpPr>
            <a:spLocks noGrp="1"/>
          </p:cNvSpPr>
          <p:nvPr>
            <p:ph type="ftr" sz="quarter" idx="10"/>
          </p:nvPr>
        </p:nvSpPr>
        <p:spPr/>
        <p:txBody>
          <a:bodyPr/>
          <a:lstStyle/>
          <a:p>
            <a:endParaRPr lang="en-US"/>
          </a:p>
        </p:txBody>
      </p:sp>
      <p:sp>
        <p:nvSpPr>
          <p:cNvPr id="4" name="Subtitle 2">
            <a:extLst>
              <a:ext uri="{FF2B5EF4-FFF2-40B4-BE49-F238E27FC236}">
                <a16:creationId xmlns:a16="http://schemas.microsoft.com/office/drawing/2014/main" id="{CA6EE310-36F5-327E-169C-29E8787C9A0A}"/>
              </a:ext>
            </a:extLst>
          </p:cNvPr>
          <p:cNvSpPr>
            <a:spLocks noGrp="1"/>
          </p:cNvSpPr>
          <p:nvPr>
            <p:ph type="subTitle" idx="1"/>
          </p:nvPr>
        </p:nvSpPr>
        <p:spPr>
          <a:xfrm>
            <a:off x="502179" y="1032607"/>
            <a:ext cx="11194511" cy="338993"/>
          </a:xfrm>
        </p:spPr>
        <p:txBody>
          <a:bodyPr anchor="t"/>
          <a:lstStyle>
            <a:lvl1pPr marL="0" indent="0" algn="l">
              <a:buNone/>
              <a:defRPr sz="21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Graphic 4">
            <a:extLst>
              <a:ext uri="{FF2B5EF4-FFF2-40B4-BE49-F238E27FC236}">
                <a16:creationId xmlns:a16="http://schemas.microsoft.com/office/drawing/2014/main" id="{19285CE7-3927-599A-7699-572E402D01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4812" y="2035495"/>
            <a:ext cx="3535902" cy="3411523"/>
          </a:xfrm>
          <a:prstGeom prst="rect">
            <a:avLst/>
          </a:prstGeom>
        </p:spPr>
      </p:pic>
      <p:pic>
        <p:nvPicPr>
          <p:cNvPr id="6" name="Graphic 5">
            <a:extLst>
              <a:ext uri="{FF2B5EF4-FFF2-40B4-BE49-F238E27FC236}">
                <a16:creationId xmlns:a16="http://schemas.microsoft.com/office/drawing/2014/main" id="{C22752F3-A11D-F3CE-9C28-1AC0B9FF7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22800" y="2035495"/>
            <a:ext cx="3535902" cy="3411523"/>
          </a:xfrm>
          <a:prstGeom prst="rect">
            <a:avLst/>
          </a:prstGeom>
        </p:spPr>
      </p:pic>
      <p:pic>
        <p:nvPicPr>
          <p:cNvPr id="7" name="Graphic 6">
            <a:extLst>
              <a:ext uri="{FF2B5EF4-FFF2-40B4-BE49-F238E27FC236}">
                <a16:creationId xmlns:a16="http://schemas.microsoft.com/office/drawing/2014/main" id="{8C1BD4B2-786C-28F8-387F-E3BBF4BE8E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60788" y="2035495"/>
            <a:ext cx="3535902" cy="3411523"/>
          </a:xfrm>
          <a:prstGeom prst="rect">
            <a:avLst/>
          </a:prstGeom>
        </p:spPr>
      </p:pic>
      <p:sp>
        <p:nvSpPr>
          <p:cNvPr id="10" name="Content Placeholder 18">
            <a:extLst>
              <a:ext uri="{FF2B5EF4-FFF2-40B4-BE49-F238E27FC236}">
                <a16:creationId xmlns:a16="http://schemas.microsoft.com/office/drawing/2014/main" id="{689A8D44-0CC8-383B-B4E2-AA3D6981A75D}"/>
              </a:ext>
            </a:extLst>
          </p:cNvPr>
          <p:cNvSpPr>
            <a:spLocks noGrp="1"/>
          </p:cNvSpPr>
          <p:nvPr>
            <p:ph sz="quarter" idx="11"/>
          </p:nvPr>
        </p:nvSpPr>
        <p:spPr>
          <a:xfrm>
            <a:off x="689907" y="2168278"/>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8">
            <a:extLst>
              <a:ext uri="{FF2B5EF4-FFF2-40B4-BE49-F238E27FC236}">
                <a16:creationId xmlns:a16="http://schemas.microsoft.com/office/drawing/2014/main" id="{02D6D283-8AC2-EB13-B516-0E2D9E4CBBF4}"/>
              </a:ext>
            </a:extLst>
          </p:cNvPr>
          <p:cNvSpPr>
            <a:spLocks noGrp="1"/>
          </p:cNvSpPr>
          <p:nvPr>
            <p:ph sz="quarter" idx="12"/>
          </p:nvPr>
        </p:nvSpPr>
        <p:spPr>
          <a:xfrm>
            <a:off x="4505094" y="2168278"/>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8">
            <a:extLst>
              <a:ext uri="{FF2B5EF4-FFF2-40B4-BE49-F238E27FC236}">
                <a16:creationId xmlns:a16="http://schemas.microsoft.com/office/drawing/2014/main" id="{244EC714-C35F-5891-DA25-0E04F73FDC6B}"/>
              </a:ext>
            </a:extLst>
          </p:cNvPr>
          <p:cNvSpPr>
            <a:spLocks noGrp="1"/>
          </p:cNvSpPr>
          <p:nvPr>
            <p:ph sz="quarter" idx="13"/>
          </p:nvPr>
        </p:nvSpPr>
        <p:spPr>
          <a:xfrm>
            <a:off x="8320281" y="2171485"/>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62514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Sk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4A960-1966-68C3-41FC-594A6B88CA23}"/>
              </a:ext>
            </a:extLst>
          </p:cNvPr>
          <p:cNvSpPr>
            <a:spLocks noGrp="1"/>
          </p:cNvSpPr>
          <p:nvPr>
            <p:ph type="title"/>
          </p:nvPr>
        </p:nvSpPr>
        <p:spPr/>
        <p:txBody>
          <a:bodyPr anchor="t"/>
          <a:lstStyle/>
          <a:p>
            <a:r>
              <a:rPr lang="en-US"/>
              <a:t>Click to edit Master title style</a:t>
            </a:r>
          </a:p>
        </p:txBody>
      </p:sp>
      <p:sp>
        <p:nvSpPr>
          <p:cNvPr id="3" name="Footer Placeholder 2">
            <a:extLst>
              <a:ext uri="{FF2B5EF4-FFF2-40B4-BE49-F238E27FC236}">
                <a16:creationId xmlns:a16="http://schemas.microsoft.com/office/drawing/2014/main" id="{82B7DAF8-F6A7-6F6B-9B22-E657CE551EDD}"/>
              </a:ext>
            </a:extLst>
          </p:cNvPr>
          <p:cNvSpPr>
            <a:spLocks noGrp="1"/>
          </p:cNvSpPr>
          <p:nvPr>
            <p:ph type="ftr" sz="quarter" idx="10"/>
          </p:nvPr>
        </p:nvSpPr>
        <p:spPr/>
        <p:txBody>
          <a:bodyPr/>
          <a:lstStyle/>
          <a:p>
            <a:endParaRPr lang="en-US"/>
          </a:p>
        </p:txBody>
      </p:sp>
      <p:sp>
        <p:nvSpPr>
          <p:cNvPr id="4" name="Subtitle 2">
            <a:extLst>
              <a:ext uri="{FF2B5EF4-FFF2-40B4-BE49-F238E27FC236}">
                <a16:creationId xmlns:a16="http://schemas.microsoft.com/office/drawing/2014/main" id="{CA6EE310-36F5-327E-169C-29E8787C9A0A}"/>
              </a:ext>
            </a:extLst>
          </p:cNvPr>
          <p:cNvSpPr>
            <a:spLocks noGrp="1"/>
          </p:cNvSpPr>
          <p:nvPr>
            <p:ph type="subTitle" idx="1"/>
          </p:nvPr>
        </p:nvSpPr>
        <p:spPr>
          <a:xfrm>
            <a:off x="502179" y="1032607"/>
            <a:ext cx="11194511" cy="338993"/>
          </a:xfrm>
        </p:spPr>
        <p:txBody>
          <a:bodyPr anchor="t"/>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Graphic 4">
            <a:extLst>
              <a:ext uri="{FF2B5EF4-FFF2-40B4-BE49-F238E27FC236}">
                <a16:creationId xmlns:a16="http://schemas.microsoft.com/office/drawing/2014/main" id="{19285CE7-3927-599A-7699-572E402D01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4812" y="2035495"/>
            <a:ext cx="3535902" cy="3411523"/>
          </a:xfrm>
          <a:prstGeom prst="rect">
            <a:avLst/>
          </a:prstGeom>
        </p:spPr>
      </p:pic>
      <p:pic>
        <p:nvPicPr>
          <p:cNvPr id="6" name="Graphic 5">
            <a:extLst>
              <a:ext uri="{FF2B5EF4-FFF2-40B4-BE49-F238E27FC236}">
                <a16:creationId xmlns:a16="http://schemas.microsoft.com/office/drawing/2014/main" id="{C22752F3-A11D-F3CE-9C28-1AC0B9FF7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22800" y="2035495"/>
            <a:ext cx="3535902" cy="3411523"/>
          </a:xfrm>
          <a:prstGeom prst="rect">
            <a:avLst/>
          </a:prstGeom>
        </p:spPr>
      </p:pic>
      <p:pic>
        <p:nvPicPr>
          <p:cNvPr id="7" name="Graphic 6">
            <a:extLst>
              <a:ext uri="{FF2B5EF4-FFF2-40B4-BE49-F238E27FC236}">
                <a16:creationId xmlns:a16="http://schemas.microsoft.com/office/drawing/2014/main" id="{8C1BD4B2-786C-28F8-387F-E3BBF4BE8E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60788" y="2035495"/>
            <a:ext cx="3535902" cy="3411523"/>
          </a:xfrm>
          <a:prstGeom prst="rect">
            <a:avLst/>
          </a:prstGeom>
        </p:spPr>
      </p:pic>
      <p:sp>
        <p:nvSpPr>
          <p:cNvPr id="8" name="Content Placeholder 18">
            <a:extLst>
              <a:ext uri="{FF2B5EF4-FFF2-40B4-BE49-F238E27FC236}">
                <a16:creationId xmlns:a16="http://schemas.microsoft.com/office/drawing/2014/main" id="{46F69A0D-6F2A-EA6C-9086-16E4926EB2D4}"/>
              </a:ext>
            </a:extLst>
          </p:cNvPr>
          <p:cNvSpPr>
            <a:spLocks noGrp="1"/>
          </p:cNvSpPr>
          <p:nvPr>
            <p:ph sz="quarter" idx="11"/>
          </p:nvPr>
        </p:nvSpPr>
        <p:spPr>
          <a:xfrm>
            <a:off x="689907" y="2168278"/>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18">
            <a:extLst>
              <a:ext uri="{FF2B5EF4-FFF2-40B4-BE49-F238E27FC236}">
                <a16:creationId xmlns:a16="http://schemas.microsoft.com/office/drawing/2014/main" id="{FF6A031D-CFD1-BBB2-DFB6-D1E2FF1BE0C6}"/>
              </a:ext>
            </a:extLst>
          </p:cNvPr>
          <p:cNvSpPr>
            <a:spLocks noGrp="1"/>
          </p:cNvSpPr>
          <p:nvPr>
            <p:ph sz="quarter" idx="12"/>
          </p:nvPr>
        </p:nvSpPr>
        <p:spPr>
          <a:xfrm>
            <a:off x="4505094" y="2168278"/>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8">
            <a:extLst>
              <a:ext uri="{FF2B5EF4-FFF2-40B4-BE49-F238E27FC236}">
                <a16:creationId xmlns:a16="http://schemas.microsoft.com/office/drawing/2014/main" id="{A7DB65BB-7E9A-514E-F900-7E7DC684E013}"/>
              </a:ext>
            </a:extLst>
          </p:cNvPr>
          <p:cNvSpPr>
            <a:spLocks noGrp="1"/>
          </p:cNvSpPr>
          <p:nvPr>
            <p:ph sz="quarter" idx="13"/>
          </p:nvPr>
        </p:nvSpPr>
        <p:spPr>
          <a:xfrm>
            <a:off x="8320281" y="2171485"/>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78315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Viridis Alternate">
    <p:bg>
      <p:bgPr>
        <a:solidFill>
          <a:schemeClr val="bg1"/>
        </a:solidFill>
        <a:effectLst/>
      </p:bgPr>
    </p:bg>
    <p:spTree>
      <p:nvGrpSpPr>
        <p:cNvPr id="1" name=""/>
        <p:cNvGrpSpPr/>
        <p:nvPr/>
      </p:nvGrpSpPr>
      <p:grpSpPr>
        <a:xfrm>
          <a:off x="0" y="0"/>
          <a:ext cx="0" cy="0"/>
          <a:chOff x="0" y="0"/>
          <a:chExt cx="0" cy="0"/>
        </a:xfrm>
      </p:grpSpPr>
      <p:pic>
        <p:nvPicPr>
          <p:cNvPr id="17" name="Picture 16" descr="A green and white background&#10;&#10;Description automatically generated">
            <a:extLst>
              <a:ext uri="{FF2B5EF4-FFF2-40B4-BE49-F238E27FC236}">
                <a16:creationId xmlns:a16="http://schemas.microsoft.com/office/drawing/2014/main" id="{D9D8ABDB-B374-C08D-1423-39142E878E3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974"/>
            <a:ext cx="6094100" cy="6856026"/>
          </a:xfrm>
          <a:prstGeom prst="rect">
            <a:avLst/>
          </a:prstGeom>
        </p:spPr>
      </p:pic>
      <p:sp>
        <p:nvSpPr>
          <p:cNvPr id="3" name="Freeform: Shape 2">
            <a:extLst>
              <a:ext uri="{FF2B5EF4-FFF2-40B4-BE49-F238E27FC236}">
                <a16:creationId xmlns:a16="http://schemas.microsoft.com/office/drawing/2014/main" id="{BBB3BB04-8588-C354-A750-0AAF31C9C662}"/>
              </a:ext>
            </a:extLst>
          </p:cNvPr>
          <p:cNvSpPr/>
          <p:nvPr userDrawn="1"/>
        </p:nvSpPr>
        <p:spPr>
          <a:xfrm>
            <a:off x="29206" y="745835"/>
            <a:ext cx="6064893" cy="5083465"/>
          </a:xfrm>
          <a:custGeom>
            <a:avLst/>
            <a:gdLst>
              <a:gd name="connsiteX0" fmla="*/ 6064893 w 6064893"/>
              <a:gd name="connsiteY0" fmla="*/ 0 h 5083465"/>
              <a:gd name="connsiteX1" fmla="*/ 6064893 w 6064893"/>
              <a:gd name="connsiteY1" fmla="*/ 4776654 h 5083465"/>
              <a:gd name="connsiteX2" fmla="*/ 5967498 w 6064893"/>
              <a:gd name="connsiteY2" fmla="*/ 4823056 h 5083465"/>
              <a:gd name="connsiteX3" fmla="*/ 4681218 w 6064893"/>
              <a:gd name="connsiteY3" fmla="*/ 5083465 h 5083465"/>
              <a:gd name="connsiteX4" fmla="*/ 198047 w 6064893"/>
              <a:gd name="connsiteY4" fmla="*/ 5083465 h 5083465"/>
              <a:gd name="connsiteX5" fmla="*/ 0 w 6064893"/>
              <a:gd name="connsiteY5" fmla="*/ 5083465 h 5083465"/>
              <a:gd name="connsiteX6" fmla="*/ 0 w 6064893"/>
              <a:gd name="connsiteY6" fmla="*/ 2967980 h 5083465"/>
              <a:gd name="connsiteX7" fmla="*/ 1065730 w 6064893"/>
              <a:gd name="connsiteY7" fmla="*/ 4033627 h 5083465"/>
              <a:gd name="connsiteX8" fmla="*/ 2030950 w 6064893"/>
              <a:gd name="connsiteY8" fmla="*/ 4033627 h 5083465"/>
              <a:gd name="connsiteX9" fmla="*/ 5962373 w 6064893"/>
              <a:gd name="connsiteY9" fmla="*/ 102511 h 50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64893" h="5083465">
                <a:moveTo>
                  <a:pt x="6064893" y="0"/>
                </a:moveTo>
                <a:lnTo>
                  <a:pt x="6064893" y="4776654"/>
                </a:lnTo>
                <a:lnTo>
                  <a:pt x="5967498" y="4823056"/>
                </a:lnTo>
                <a:cubicBezTo>
                  <a:pt x="5560551" y="4993245"/>
                  <a:pt x="5122930" y="5083465"/>
                  <a:pt x="4681218" y="5083465"/>
                </a:cubicBezTo>
                <a:cubicBezTo>
                  <a:pt x="2532988" y="5083465"/>
                  <a:pt x="1123212" y="5083465"/>
                  <a:pt x="198047" y="5083465"/>
                </a:cubicBezTo>
                <a:lnTo>
                  <a:pt x="0" y="5083465"/>
                </a:lnTo>
                <a:lnTo>
                  <a:pt x="0" y="2967980"/>
                </a:lnTo>
                <a:lnTo>
                  <a:pt x="1065730" y="4033627"/>
                </a:lnTo>
                <a:cubicBezTo>
                  <a:pt x="1327484" y="4312491"/>
                  <a:pt x="1769196" y="4312491"/>
                  <a:pt x="2030950" y="4033627"/>
                </a:cubicBezTo>
                <a:cubicBezTo>
                  <a:pt x="3835371" y="2229347"/>
                  <a:pt x="5090009" y="974808"/>
                  <a:pt x="5962373" y="102511"/>
                </a:cubicBezTo>
                <a:close/>
              </a:path>
            </a:pathLst>
          </a:custGeom>
          <a:gradFill flip="none" rotWithShape="1">
            <a:gsLst>
              <a:gs pos="56000">
                <a:srgbClr val="00D05D">
                  <a:lumMod val="60000"/>
                  <a:lumOff val="40000"/>
                  <a:alpha val="9000"/>
                </a:srgbClr>
              </a:gs>
              <a:gs pos="100000">
                <a:srgbClr val="00D05D">
                  <a:lumMod val="60000"/>
                  <a:lumOff val="40000"/>
                </a:srgbClr>
              </a:gs>
            </a:gsLst>
            <a:lin ang="2400000" scaled="0"/>
            <a:tileRect/>
          </a:gradFill>
          <a:ln>
            <a:noFill/>
          </a:ln>
        </p:spPr>
        <p:txBody>
          <a:bodyPr vert="horz" wrap="square" lIns="91440" tIns="45720" rIns="91440" bIns="45720" numCol="1" anchor="t" anchorCtr="0" compatLnSpc="1">
            <a:prstTxWarp prst="textNoShape">
              <a:avLst/>
            </a:prstTxWarp>
            <a:noAutofit/>
          </a:bodyPr>
          <a:lstStyle/>
          <a:p>
            <a:pPr marR="0" lvl="0" indent="0" fontAlgn="auto">
              <a:lnSpc>
                <a:spcPct val="100000"/>
              </a:lnSpc>
              <a:spcBef>
                <a:spcPts val="0"/>
              </a:spcBef>
              <a:spcAft>
                <a:spcPts val="0"/>
              </a:spcAft>
              <a:buClrTx/>
              <a:buSzTx/>
              <a:buFontTx/>
              <a:buNone/>
              <a:tabLst/>
            </a:pPr>
            <a:endParaRPr kumimoji="0" lang="en-US" b="0" i="0" u="none" strike="noStrike" kern="0" cap="none" spc="0" normalizeH="0" baseline="0">
              <a:ln>
                <a:noFill/>
              </a:ln>
              <a:solidFill>
                <a:srgbClr val="4F5860"/>
              </a:solidFill>
              <a:effectLst/>
              <a:uLnTx/>
              <a:uFillTx/>
            </a:endParaRPr>
          </a:p>
        </p:txBody>
      </p:sp>
      <p:sp>
        <p:nvSpPr>
          <p:cNvPr id="28" name="TextBox 27">
            <a:extLst>
              <a:ext uri="{FF2B5EF4-FFF2-40B4-BE49-F238E27FC236}">
                <a16:creationId xmlns:a16="http://schemas.microsoft.com/office/drawing/2014/main" id="{C1BE2C04-FEAB-C649-4659-D5B32D9A36D6}"/>
              </a:ext>
            </a:extLst>
          </p:cNvPr>
          <p:cNvSpPr txBox="1"/>
          <p:nvPr userDrawn="1"/>
        </p:nvSpPr>
        <p:spPr>
          <a:xfrm>
            <a:off x="524142" y="6562481"/>
            <a:ext cx="5293842" cy="107722"/>
          </a:xfrm>
          <a:prstGeom prst="rect">
            <a:avLst/>
          </a:prstGeom>
          <a:noFill/>
        </p:spPr>
        <p:txBody>
          <a:bodyPr wrap="square" lIns="0" tIns="0" rIns="0" bIns="0">
            <a:spAutoFit/>
          </a:bodyPr>
          <a:lstStyle/>
          <a:p>
            <a:r>
              <a:rPr lang="en-US" sz="700">
                <a:solidFill>
                  <a:schemeClr val="bg2"/>
                </a:solidFill>
              </a:rPr>
              <a:t>© 2024 Veeam Software. Confidential information. All rights reserved. All trademarks are the property of their respective owners. </a:t>
            </a:r>
          </a:p>
        </p:txBody>
      </p:sp>
      <p:sp>
        <p:nvSpPr>
          <p:cNvPr id="4" name="Title 1">
            <a:extLst>
              <a:ext uri="{FF2B5EF4-FFF2-40B4-BE49-F238E27FC236}">
                <a16:creationId xmlns:a16="http://schemas.microsoft.com/office/drawing/2014/main" id="{2B148703-D625-827F-FB95-145960D3273A}"/>
              </a:ext>
            </a:extLst>
          </p:cNvPr>
          <p:cNvSpPr>
            <a:spLocks noGrp="1"/>
          </p:cNvSpPr>
          <p:nvPr>
            <p:ph type="title" hasCustomPrompt="1"/>
          </p:nvPr>
        </p:nvSpPr>
        <p:spPr>
          <a:xfrm>
            <a:off x="849312" y="2467915"/>
            <a:ext cx="4430065" cy="1232645"/>
          </a:xfrm>
        </p:spPr>
        <p:txBody>
          <a:bodyPr wrap="square" anchor="ctr">
            <a:noAutofit/>
          </a:bodyPr>
          <a:lstStyle>
            <a:lvl1pPr algn="l">
              <a:defRPr sz="8900" spc="-300">
                <a:solidFill>
                  <a:schemeClr val="accent1"/>
                </a:solidFill>
                <a:latin typeface="+mj-lt"/>
              </a:defRPr>
            </a:lvl1pPr>
          </a:lstStyle>
          <a:p>
            <a:r>
              <a:rPr lang="en-US"/>
              <a:t>Agenda</a:t>
            </a:r>
          </a:p>
        </p:txBody>
      </p:sp>
      <p:sp>
        <p:nvSpPr>
          <p:cNvPr id="12" name="Text Placeholder 6">
            <a:extLst>
              <a:ext uri="{FF2B5EF4-FFF2-40B4-BE49-F238E27FC236}">
                <a16:creationId xmlns:a16="http://schemas.microsoft.com/office/drawing/2014/main" id="{25BFD162-89C3-8E46-2EAF-9574BE7E36AA}"/>
              </a:ext>
            </a:extLst>
          </p:cNvPr>
          <p:cNvSpPr>
            <a:spLocks noGrp="1"/>
          </p:cNvSpPr>
          <p:nvPr>
            <p:ph type="body" sz="quarter" idx="28"/>
          </p:nvPr>
        </p:nvSpPr>
        <p:spPr>
          <a:xfrm>
            <a:off x="6572251" y="688975"/>
            <a:ext cx="5124450" cy="5480050"/>
          </a:xfrm>
        </p:spPr>
        <p:txBody>
          <a:bodyPr anchor="ctr"/>
          <a:lstStyle>
            <a:lvl1pPr marL="346075" indent="-346075">
              <a:lnSpc>
                <a:spcPct val="89000"/>
              </a:lnSpc>
              <a:spcAft>
                <a:spcPts val="600"/>
              </a:spcAft>
              <a:buClr>
                <a:srgbClr val="8E71F4"/>
              </a:buClr>
              <a:buFont typeface="+mj-lt"/>
              <a:buAutoNum type="arabicPeriod"/>
              <a:defRPr sz="24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96413517"/>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Column Cas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4A960-1966-68C3-41FC-594A6B88CA23}"/>
              </a:ext>
            </a:extLst>
          </p:cNvPr>
          <p:cNvSpPr>
            <a:spLocks noGrp="1"/>
          </p:cNvSpPr>
          <p:nvPr>
            <p:ph type="title"/>
          </p:nvPr>
        </p:nvSpPr>
        <p:spPr/>
        <p:txBody>
          <a:bodyPr anchor="t"/>
          <a:lstStyle/>
          <a:p>
            <a:r>
              <a:rPr lang="en-US"/>
              <a:t>Click to edit Master title style</a:t>
            </a:r>
          </a:p>
        </p:txBody>
      </p:sp>
      <p:sp>
        <p:nvSpPr>
          <p:cNvPr id="3" name="Footer Placeholder 2">
            <a:extLst>
              <a:ext uri="{FF2B5EF4-FFF2-40B4-BE49-F238E27FC236}">
                <a16:creationId xmlns:a16="http://schemas.microsoft.com/office/drawing/2014/main" id="{82B7DAF8-F6A7-6F6B-9B22-E657CE551EDD}"/>
              </a:ext>
            </a:extLst>
          </p:cNvPr>
          <p:cNvSpPr>
            <a:spLocks noGrp="1"/>
          </p:cNvSpPr>
          <p:nvPr>
            <p:ph type="ftr" sz="quarter" idx="10"/>
          </p:nvPr>
        </p:nvSpPr>
        <p:spPr/>
        <p:txBody>
          <a:bodyPr/>
          <a:lstStyle/>
          <a:p>
            <a:endParaRPr lang="en-US"/>
          </a:p>
        </p:txBody>
      </p:sp>
      <p:sp>
        <p:nvSpPr>
          <p:cNvPr id="4" name="Subtitle 2">
            <a:extLst>
              <a:ext uri="{FF2B5EF4-FFF2-40B4-BE49-F238E27FC236}">
                <a16:creationId xmlns:a16="http://schemas.microsoft.com/office/drawing/2014/main" id="{CA6EE310-36F5-327E-169C-29E8787C9A0A}"/>
              </a:ext>
            </a:extLst>
          </p:cNvPr>
          <p:cNvSpPr>
            <a:spLocks noGrp="1"/>
          </p:cNvSpPr>
          <p:nvPr>
            <p:ph type="subTitle" idx="1"/>
          </p:nvPr>
        </p:nvSpPr>
        <p:spPr>
          <a:xfrm>
            <a:off x="502179" y="1032607"/>
            <a:ext cx="11194511" cy="338993"/>
          </a:xfrm>
        </p:spPr>
        <p:txBody>
          <a:bodyPr anchor="t"/>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Graphic 4">
            <a:extLst>
              <a:ext uri="{FF2B5EF4-FFF2-40B4-BE49-F238E27FC236}">
                <a16:creationId xmlns:a16="http://schemas.microsoft.com/office/drawing/2014/main" id="{19285CE7-3927-599A-7699-572E402D01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4812" y="2035495"/>
            <a:ext cx="3535902" cy="3411523"/>
          </a:xfrm>
          <a:prstGeom prst="rect">
            <a:avLst/>
          </a:prstGeom>
        </p:spPr>
      </p:pic>
      <p:pic>
        <p:nvPicPr>
          <p:cNvPr id="6" name="Graphic 5">
            <a:extLst>
              <a:ext uri="{FF2B5EF4-FFF2-40B4-BE49-F238E27FC236}">
                <a16:creationId xmlns:a16="http://schemas.microsoft.com/office/drawing/2014/main" id="{C22752F3-A11D-F3CE-9C28-1AC0B9FF7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22800" y="2035495"/>
            <a:ext cx="3535902" cy="3411523"/>
          </a:xfrm>
          <a:prstGeom prst="rect">
            <a:avLst/>
          </a:prstGeom>
        </p:spPr>
      </p:pic>
      <p:pic>
        <p:nvPicPr>
          <p:cNvPr id="7" name="Graphic 6">
            <a:extLst>
              <a:ext uri="{FF2B5EF4-FFF2-40B4-BE49-F238E27FC236}">
                <a16:creationId xmlns:a16="http://schemas.microsoft.com/office/drawing/2014/main" id="{8C1BD4B2-786C-28F8-387F-E3BBF4BE8E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60788" y="2035495"/>
            <a:ext cx="3535902" cy="3411523"/>
          </a:xfrm>
          <a:prstGeom prst="rect">
            <a:avLst/>
          </a:prstGeom>
        </p:spPr>
      </p:pic>
      <p:sp>
        <p:nvSpPr>
          <p:cNvPr id="8" name="Content Placeholder 18">
            <a:extLst>
              <a:ext uri="{FF2B5EF4-FFF2-40B4-BE49-F238E27FC236}">
                <a16:creationId xmlns:a16="http://schemas.microsoft.com/office/drawing/2014/main" id="{1263A044-489A-F063-EF44-0FA544A4A8C1}"/>
              </a:ext>
            </a:extLst>
          </p:cNvPr>
          <p:cNvSpPr>
            <a:spLocks noGrp="1"/>
          </p:cNvSpPr>
          <p:nvPr>
            <p:ph sz="quarter" idx="11"/>
          </p:nvPr>
        </p:nvSpPr>
        <p:spPr>
          <a:xfrm>
            <a:off x="689907" y="2168278"/>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18">
            <a:extLst>
              <a:ext uri="{FF2B5EF4-FFF2-40B4-BE49-F238E27FC236}">
                <a16:creationId xmlns:a16="http://schemas.microsoft.com/office/drawing/2014/main" id="{7D9E6090-3B36-AFFB-A36A-8D1C72872738}"/>
              </a:ext>
            </a:extLst>
          </p:cNvPr>
          <p:cNvSpPr>
            <a:spLocks noGrp="1"/>
          </p:cNvSpPr>
          <p:nvPr>
            <p:ph sz="quarter" idx="12"/>
          </p:nvPr>
        </p:nvSpPr>
        <p:spPr>
          <a:xfrm>
            <a:off x="4505094" y="2168278"/>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8">
            <a:extLst>
              <a:ext uri="{FF2B5EF4-FFF2-40B4-BE49-F238E27FC236}">
                <a16:creationId xmlns:a16="http://schemas.microsoft.com/office/drawing/2014/main" id="{929AE5F4-71AC-9114-BB95-1D343A0203E7}"/>
              </a:ext>
            </a:extLst>
          </p:cNvPr>
          <p:cNvSpPr>
            <a:spLocks noGrp="1"/>
          </p:cNvSpPr>
          <p:nvPr>
            <p:ph sz="quarter" idx="13"/>
          </p:nvPr>
        </p:nvSpPr>
        <p:spPr>
          <a:xfrm>
            <a:off x="8320281" y="2171485"/>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18919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ree Column S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4A960-1966-68C3-41FC-594A6B88CA23}"/>
              </a:ext>
            </a:extLst>
          </p:cNvPr>
          <p:cNvSpPr>
            <a:spLocks noGrp="1"/>
          </p:cNvSpPr>
          <p:nvPr>
            <p:ph type="title"/>
          </p:nvPr>
        </p:nvSpPr>
        <p:spPr/>
        <p:txBody>
          <a:bodyPr anchor="t"/>
          <a:lstStyle/>
          <a:p>
            <a:r>
              <a:rPr lang="en-US"/>
              <a:t>Click to edit Master title style</a:t>
            </a:r>
          </a:p>
        </p:txBody>
      </p:sp>
      <p:sp>
        <p:nvSpPr>
          <p:cNvPr id="3" name="Footer Placeholder 2">
            <a:extLst>
              <a:ext uri="{FF2B5EF4-FFF2-40B4-BE49-F238E27FC236}">
                <a16:creationId xmlns:a16="http://schemas.microsoft.com/office/drawing/2014/main" id="{82B7DAF8-F6A7-6F6B-9B22-E657CE551EDD}"/>
              </a:ext>
            </a:extLst>
          </p:cNvPr>
          <p:cNvSpPr>
            <a:spLocks noGrp="1"/>
          </p:cNvSpPr>
          <p:nvPr>
            <p:ph type="ftr" sz="quarter" idx="10"/>
          </p:nvPr>
        </p:nvSpPr>
        <p:spPr/>
        <p:txBody>
          <a:bodyPr/>
          <a:lstStyle/>
          <a:p>
            <a:endParaRPr lang="en-US"/>
          </a:p>
        </p:txBody>
      </p:sp>
      <p:sp>
        <p:nvSpPr>
          <p:cNvPr id="4" name="Subtitle 2">
            <a:extLst>
              <a:ext uri="{FF2B5EF4-FFF2-40B4-BE49-F238E27FC236}">
                <a16:creationId xmlns:a16="http://schemas.microsoft.com/office/drawing/2014/main" id="{CA6EE310-36F5-327E-169C-29E8787C9A0A}"/>
              </a:ext>
            </a:extLst>
          </p:cNvPr>
          <p:cNvSpPr>
            <a:spLocks noGrp="1"/>
          </p:cNvSpPr>
          <p:nvPr>
            <p:ph type="subTitle" idx="1"/>
          </p:nvPr>
        </p:nvSpPr>
        <p:spPr>
          <a:xfrm>
            <a:off x="502179" y="1032607"/>
            <a:ext cx="11194511" cy="338993"/>
          </a:xfrm>
        </p:spPr>
        <p:txBody>
          <a:bodyPr anchor="t"/>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Graphic 4">
            <a:extLst>
              <a:ext uri="{FF2B5EF4-FFF2-40B4-BE49-F238E27FC236}">
                <a16:creationId xmlns:a16="http://schemas.microsoft.com/office/drawing/2014/main" id="{19285CE7-3927-599A-7699-572E402D01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4812" y="2035495"/>
            <a:ext cx="3535902" cy="3411523"/>
          </a:xfrm>
          <a:prstGeom prst="rect">
            <a:avLst/>
          </a:prstGeom>
        </p:spPr>
      </p:pic>
      <p:pic>
        <p:nvPicPr>
          <p:cNvPr id="6" name="Graphic 5">
            <a:extLst>
              <a:ext uri="{FF2B5EF4-FFF2-40B4-BE49-F238E27FC236}">
                <a16:creationId xmlns:a16="http://schemas.microsoft.com/office/drawing/2014/main" id="{C22752F3-A11D-F3CE-9C28-1AC0B9FF7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22800" y="2035495"/>
            <a:ext cx="3535902" cy="3411523"/>
          </a:xfrm>
          <a:prstGeom prst="rect">
            <a:avLst/>
          </a:prstGeom>
        </p:spPr>
      </p:pic>
      <p:pic>
        <p:nvPicPr>
          <p:cNvPr id="7" name="Graphic 6">
            <a:extLst>
              <a:ext uri="{FF2B5EF4-FFF2-40B4-BE49-F238E27FC236}">
                <a16:creationId xmlns:a16="http://schemas.microsoft.com/office/drawing/2014/main" id="{8C1BD4B2-786C-28F8-387F-E3BBF4BE8E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60788" y="2035495"/>
            <a:ext cx="3535902" cy="3411523"/>
          </a:xfrm>
          <a:prstGeom prst="rect">
            <a:avLst/>
          </a:prstGeom>
        </p:spPr>
      </p:pic>
      <p:sp>
        <p:nvSpPr>
          <p:cNvPr id="10" name="Content Placeholder 18">
            <a:extLst>
              <a:ext uri="{FF2B5EF4-FFF2-40B4-BE49-F238E27FC236}">
                <a16:creationId xmlns:a16="http://schemas.microsoft.com/office/drawing/2014/main" id="{689A8D44-0CC8-383B-B4E2-AA3D6981A75D}"/>
              </a:ext>
            </a:extLst>
          </p:cNvPr>
          <p:cNvSpPr>
            <a:spLocks noGrp="1"/>
          </p:cNvSpPr>
          <p:nvPr>
            <p:ph sz="quarter" idx="11"/>
          </p:nvPr>
        </p:nvSpPr>
        <p:spPr>
          <a:xfrm>
            <a:off x="689907" y="2168278"/>
            <a:ext cx="3148384" cy="3019242"/>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8">
            <a:extLst>
              <a:ext uri="{FF2B5EF4-FFF2-40B4-BE49-F238E27FC236}">
                <a16:creationId xmlns:a16="http://schemas.microsoft.com/office/drawing/2014/main" id="{02D6D283-8AC2-EB13-B516-0E2D9E4CBBF4}"/>
              </a:ext>
            </a:extLst>
          </p:cNvPr>
          <p:cNvSpPr>
            <a:spLocks noGrp="1"/>
          </p:cNvSpPr>
          <p:nvPr>
            <p:ph sz="quarter" idx="12"/>
          </p:nvPr>
        </p:nvSpPr>
        <p:spPr>
          <a:xfrm>
            <a:off x="4505094" y="2168278"/>
            <a:ext cx="3148384" cy="3019242"/>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8">
            <a:extLst>
              <a:ext uri="{FF2B5EF4-FFF2-40B4-BE49-F238E27FC236}">
                <a16:creationId xmlns:a16="http://schemas.microsoft.com/office/drawing/2014/main" id="{244EC714-C35F-5891-DA25-0E04F73FDC6B}"/>
              </a:ext>
            </a:extLst>
          </p:cNvPr>
          <p:cNvSpPr>
            <a:spLocks noGrp="1"/>
          </p:cNvSpPr>
          <p:nvPr>
            <p:ph sz="quarter" idx="13"/>
          </p:nvPr>
        </p:nvSpPr>
        <p:spPr>
          <a:xfrm>
            <a:off x="8320281" y="2171485"/>
            <a:ext cx="3148384" cy="3019242"/>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90565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ree Column Az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4A960-1966-68C3-41FC-594A6B88CA23}"/>
              </a:ext>
            </a:extLst>
          </p:cNvPr>
          <p:cNvSpPr>
            <a:spLocks noGrp="1"/>
          </p:cNvSpPr>
          <p:nvPr>
            <p:ph type="title"/>
          </p:nvPr>
        </p:nvSpPr>
        <p:spPr/>
        <p:txBody>
          <a:bodyPr anchor="t"/>
          <a:lstStyle/>
          <a:p>
            <a:r>
              <a:rPr lang="en-US"/>
              <a:t>Click to edit Master title style</a:t>
            </a:r>
          </a:p>
        </p:txBody>
      </p:sp>
      <p:sp>
        <p:nvSpPr>
          <p:cNvPr id="3" name="Footer Placeholder 2">
            <a:extLst>
              <a:ext uri="{FF2B5EF4-FFF2-40B4-BE49-F238E27FC236}">
                <a16:creationId xmlns:a16="http://schemas.microsoft.com/office/drawing/2014/main" id="{82B7DAF8-F6A7-6F6B-9B22-E657CE551EDD}"/>
              </a:ext>
            </a:extLst>
          </p:cNvPr>
          <p:cNvSpPr>
            <a:spLocks noGrp="1"/>
          </p:cNvSpPr>
          <p:nvPr>
            <p:ph type="ftr" sz="quarter" idx="10"/>
          </p:nvPr>
        </p:nvSpPr>
        <p:spPr/>
        <p:txBody>
          <a:bodyPr/>
          <a:lstStyle/>
          <a:p>
            <a:endParaRPr lang="en-US"/>
          </a:p>
        </p:txBody>
      </p:sp>
      <p:sp>
        <p:nvSpPr>
          <p:cNvPr id="4" name="Subtitle 2">
            <a:extLst>
              <a:ext uri="{FF2B5EF4-FFF2-40B4-BE49-F238E27FC236}">
                <a16:creationId xmlns:a16="http://schemas.microsoft.com/office/drawing/2014/main" id="{CA6EE310-36F5-327E-169C-29E8787C9A0A}"/>
              </a:ext>
            </a:extLst>
          </p:cNvPr>
          <p:cNvSpPr>
            <a:spLocks noGrp="1"/>
          </p:cNvSpPr>
          <p:nvPr>
            <p:ph type="subTitle" idx="1"/>
          </p:nvPr>
        </p:nvSpPr>
        <p:spPr>
          <a:xfrm>
            <a:off x="502179" y="1032607"/>
            <a:ext cx="11194511" cy="338993"/>
          </a:xfrm>
        </p:spPr>
        <p:txBody>
          <a:bodyPr anchor="t"/>
          <a:lstStyle>
            <a:lvl1pPr marL="0" indent="0" algn="l">
              <a:buNone/>
              <a:defRPr sz="21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Graphic 4">
            <a:extLst>
              <a:ext uri="{FF2B5EF4-FFF2-40B4-BE49-F238E27FC236}">
                <a16:creationId xmlns:a16="http://schemas.microsoft.com/office/drawing/2014/main" id="{19285CE7-3927-599A-7699-572E402D01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4812" y="2035495"/>
            <a:ext cx="3535902" cy="3411523"/>
          </a:xfrm>
          <a:prstGeom prst="rect">
            <a:avLst/>
          </a:prstGeom>
        </p:spPr>
      </p:pic>
      <p:pic>
        <p:nvPicPr>
          <p:cNvPr id="6" name="Graphic 5">
            <a:extLst>
              <a:ext uri="{FF2B5EF4-FFF2-40B4-BE49-F238E27FC236}">
                <a16:creationId xmlns:a16="http://schemas.microsoft.com/office/drawing/2014/main" id="{C22752F3-A11D-F3CE-9C28-1AC0B9FF7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22800" y="2035495"/>
            <a:ext cx="3535902" cy="3411523"/>
          </a:xfrm>
          <a:prstGeom prst="rect">
            <a:avLst/>
          </a:prstGeom>
        </p:spPr>
      </p:pic>
      <p:pic>
        <p:nvPicPr>
          <p:cNvPr id="7" name="Graphic 6">
            <a:extLst>
              <a:ext uri="{FF2B5EF4-FFF2-40B4-BE49-F238E27FC236}">
                <a16:creationId xmlns:a16="http://schemas.microsoft.com/office/drawing/2014/main" id="{8C1BD4B2-786C-28F8-387F-E3BBF4BE8E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60788" y="2035495"/>
            <a:ext cx="3535902" cy="3411523"/>
          </a:xfrm>
          <a:prstGeom prst="rect">
            <a:avLst/>
          </a:prstGeom>
        </p:spPr>
      </p:pic>
      <p:sp>
        <p:nvSpPr>
          <p:cNvPr id="8" name="Content Placeholder 18">
            <a:extLst>
              <a:ext uri="{FF2B5EF4-FFF2-40B4-BE49-F238E27FC236}">
                <a16:creationId xmlns:a16="http://schemas.microsoft.com/office/drawing/2014/main" id="{79B756BD-525B-ED94-5E12-1E8B261CCD1E}"/>
              </a:ext>
            </a:extLst>
          </p:cNvPr>
          <p:cNvSpPr>
            <a:spLocks noGrp="1"/>
          </p:cNvSpPr>
          <p:nvPr>
            <p:ph sz="quarter" idx="11"/>
          </p:nvPr>
        </p:nvSpPr>
        <p:spPr>
          <a:xfrm>
            <a:off x="689907" y="2168278"/>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18">
            <a:extLst>
              <a:ext uri="{FF2B5EF4-FFF2-40B4-BE49-F238E27FC236}">
                <a16:creationId xmlns:a16="http://schemas.microsoft.com/office/drawing/2014/main" id="{EA51BDD5-163B-786B-05DF-FA91C28BDB2C}"/>
              </a:ext>
            </a:extLst>
          </p:cNvPr>
          <p:cNvSpPr>
            <a:spLocks noGrp="1"/>
          </p:cNvSpPr>
          <p:nvPr>
            <p:ph sz="quarter" idx="12"/>
          </p:nvPr>
        </p:nvSpPr>
        <p:spPr>
          <a:xfrm>
            <a:off x="4505094" y="2168278"/>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8">
            <a:extLst>
              <a:ext uri="{FF2B5EF4-FFF2-40B4-BE49-F238E27FC236}">
                <a16:creationId xmlns:a16="http://schemas.microsoft.com/office/drawing/2014/main" id="{1310DE8B-3E81-E40B-89B4-044CAF4E86CF}"/>
              </a:ext>
            </a:extLst>
          </p:cNvPr>
          <p:cNvSpPr>
            <a:spLocks noGrp="1"/>
          </p:cNvSpPr>
          <p:nvPr>
            <p:ph sz="quarter" idx="13"/>
          </p:nvPr>
        </p:nvSpPr>
        <p:spPr>
          <a:xfrm>
            <a:off x="8320281" y="2171485"/>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1946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Column Sum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4A960-1966-68C3-41FC-594A6B88CA23}"/>
              </a:ext>
            </a:extLst>
          </p:cNvPr>
          <p:cNvSpPr>
            <a:spLocks noGrp="1"/>
          </p:cNvSpPr>
          <p:nvPr>
            <p:ph type="title"/>
          </p:nvPr>
        </p:nvSpPr>
        <p:spPr/>
        <p:txBody>
          <a:bodyPr anchor="t"/>
          <a:lstStyle/>
          <a:p>
            <a:r>
              <a:rPr lang="en-US"/>
              <a:t>Click to edit Master title style</a:t>
            </a:r>
          </a:p>
        </p:txBody>
      </p:sp>
      <p:sp>
        <p:nvSpPr>
          <p:cNvPr id="3" name="Footer Placeholder 2">
            <a:extLst>
              <a:ext uri="{FF2B5EF4-FFF2-40B4-BE49-F238E27FC236}">
                <a16:creationId xmlns:a16="http://schemas.microsoft.com/office/drawing/2014/main" id="{82B7DAF8-F6A7-6F6B-9B22-E657CE551EDD}"/>
              </a:ext>
            </a:extLst>
          </p:cNvPr>
          <p:cNvSpPr>
            <a:spLocks noGrp="1"/>
          </p:cNvSpPr>
          <p:nvPr>
            <p:ph type="ftr" sz="quarter" idx="10"/>
          </p:nvPr>
        </p:nvSpPr>
        <p:spPr/>
        <p:txBody>
          <a:bodyPr/>
          <a:lstStyle/>
          <a:p>
            <a:endParaRPr lang="en-US"/>
          </a:p>
        </p:txBody>
      </p:sp>
      <p:sp>
        <p:nvSpPr>
          <p:cNvPr id="4" name="Subtitle 2">
            <a:extLst>
              <a:ext uri="{FF2B5EF4-FFF2-40B4-BE49-F238E27FC236}">
                <a16:creationId xmlns:a16="http://schemas.microsoft.com/office/drawing/2014/main" id="{CA6EE310-36F5-327E-169C-29E8787C9A0A}"/>
              </a:ext>
            </a:extLst>
          </p:cNvPr>
          <p:cNvSpPr>
            <a:spLocks noGrp="1"/>
          </p:cNvSpPr>
          <p:nvPr>
            <p:ph type="subTitle" idx="1"/>
          </p:nvPr>
        </p:nvSpPr>
        <p:spPr>
          <a:xfrm>
            <a:off x="502179" y="1032607"/>
            <a:ext cx="11194511" cy="338993"/>
          </a:xfrm>
        </p:spPr>
        <p:txBody>
          <a:bodyPr anchor="t"/>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Graphic 4">
            <a:extLst>
              <a:ext uri="{FF2B5EF4-FFF2-40B4-BE49-F238E27FC236}">
                <a16:creationId xmlns:a16="http://schemas.microsoft.com/office/drawing/2014/main" id="{19285CE7-3927-599A-7699-572E402D01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4812" y="2035495"/>
            <a:ext cx="3535902" cy="3411523"/>
          </a:xfrm>
          <a:prstGeom prst="rect">
            <a:avLst/>
          </a:prstGeom>
        </p:spPr>
      </p:pic>
      <p:pic>
        <p:nvPicPr>
          <p:cNvPr id="6" name="Graphic 5">
            <a:extLst>
              <a:ext uri="{FF2B5EF4-FFF2-40B4-BE49-F238E27FC236}">
                <a16:creationId xmlns:a16="http://schemas.microsoft.com/office/drawing/2014/main" id="{C22752F3-A11D-F3CE-9C28-1AC0B9FF7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22800" y="2035495"/>
            <a:ext cx="3535902" cy="3411523"/>
          </a:xfrm>
          <a:prstGeom prst="rect">
            <a:avLst/>
          </a:prstGeom>
        </p:spPr>
      </p:pic>
      <p:pic>
        <p:nvPicPr>
          <p:cNvPr id="7" name="Graphic 6">
            <a:extLst>
              <a:ext uri="{FF2B5EF4-FFF2-40B4-BE49-F238E27FC236}">
                <a16:creationId xmlns:a16="http://schemas.microsoft.com/office/drawing/2014/main" id="{8C1BD4B2-786C-28F8-387F-E3BBF4BE8E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60788" y="2035495"/>
            <a:ext cx="3535902" cy="3411523"/>
          </a:xfrm>
          <a:prstGeom prst="rect">
            <a:avLst/>
          </a:prstGeom>
        </p:spPr>
      </p:pic>
      <p:sp>
        <p:nvSpPr>
          <p:cNvPr id="8" name="Content Placeholder 18">
            <a:extLst>
              <a:ext uri="{FF2B5EF4-FFF2-40B4-BE49-F238E27FC236}">
                <a16:creationId xmlns:a16="http://schemas.microsoft.com/office/drawing/2014/main" id="{A30E5FBD-1FEB-36DE-0709-D2AD389C88AB}"/>
              </a:ext>
            </a:extLst>
          </p:cNvPr>
          <p:cNvSpPr>
            <a:spLocks noGrp="1"/>
          </p:cNvSpPr>
          <p:nvPr>
            <p:ph sz="quarter" idx="11"/>
          </p:nvPr>
        </p:nvSpPr>
        <p:spPr>
          <a:xfrm>
            <a:off x="689907" y="2168278"/>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18">
            <a:extLst>
              <a:ext uri="{FF2B5EF4-FFF2-40B4-BE49-F238E27FC236}">
                <a16:creationId xmlns:a16="http://schemas.microsoft.com/office/drawing/2014/main" id="{D39B2807-FC2A-DDCC-EA0E-DA1ED3F078E0}"/>
              </a:ext>
            </a:extLst>
          </p:cNvPr>
          <p:cNvSpPr>
            <a:spLocks noGrp="1"/>
          </p:cNvSpPr>
          <p:nvPr>
            <p:ph sz="quarter" idx="12"/>
          </p:nvPr>
        </p:nvSpPr>
        <p:spPr>
          <a:xfrm>
            <a:off x="4505094" y="2168278"/>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8">
            <a:extLst>
              <a:ext uri="{FF2B5EF4-FFF2-40B4-BE49-F238E27FC236}">
                <a16:creationId xmlns:a16="http://schemas.microsoft.com/office/drawing/2014/main" id="{D7454341-F68C-0CE5-3DCC-35FB59E3AF56}"/>
              </a:ext>
            </a:extLst>
          </p:cNvPr>
          <p:cNvSpPr>
            <a:spLocks noGrp="1"/>
          </p:cNvSpPr>
          <p:nvPr>
            <p:ph sz="quarter" idx="13"/>
          </p:nvPr>
        </p:nvSpPr>
        <p:spPr>
          <a:xfrm>
            <a:off x="8320281" y="2171485"/>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82900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ree Column Bla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4A960-1966-68C3-41FC-594A6B88CA23}"/>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82B7DAF8-F6A7-6F6B-9B22-E657CE551EDD}"/>
              </a:ext>
            </a:extLst>
          </p:cNvPr>
          <p:cNvSpPr>
            <a:spLocks noGrp="1"/>
          </p:cNvSpPr>
          <p:nvPr>
            <p:ph type="ftr" sz="quarter" idx="10"/>
          </p:nvPr>
        </p:nvSpPr>
        <p:spPr/>
        <p:txBody>
          <a:bodyPr/>
          <a:lstStyle/>
          <a:p>
            <a:endParaRPr lang="en-US"/>
          </a:p>
        </p:txBody>
      </p:sp>
      <p:sp>
        <p:nvSpPr>
          <p:cNvPr id="4" name="Subtitle 2">
            <a:extLst>
              <a:ext uri="{FF2B5EF4-FFF2-40B4-BE49-F238E27FC236}">
                <a16:creationId xmlns:a16="http://schemas.microsoft.com/office/drawing/2014/main" id="{CA6EE310-36F5-327E-169C-29E8787C9A0A}"/>
              </a:ext>
            </a:extLst>
          </p:cNvPr>
          <p:cNvSpPr>
            <a:spLocks noGrp="1"/>
          </p:cNvSpPr>
          <p:nvPr>
            <p:ph type="subTitle" idx="1"/>
          </p:nvPr>
        </p:nvSpPr>
        <p:spPr>
          <a:xfrm>
            <a:off x="502179" y="1032607"/>
            <a:ext cx="11194511" cy="338993"/>
          </a:xfrm>
        </p:spPr>
        <p:txBody>
          <a:bodyPr/>
          <a:lstStyle>
            <a:lvl1pPr marL="0" indent="0" algn="l">
              <a:buNone/>
              <a:defRPr sz="21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Graphic 4">
            <a:extLst>
              <a:ext uri="{FF2B5EF4-FFF2-40B4-BE49-F238E27FC236}">
                <a16:creationId xmlns:a16="http://schemas.microsoft.com/office/drawing/2014/main" id="{19285CE7-3927-599A-7699-572E402D01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4812" y="2035495"/>
            <a:ext cx="3535902" cy="3411523"/>
          </a:xfrm>
          <a:prstGeom prst="rect">
            <a:avLst/>
          </a:prstGeom>
        </p:spPr>
      </p:pic>
      <p:pic>
        <p:nvPicPr>
          <p:cNvPr id="6" name="Graphic 5">
            <a:extLst>
              <a:ext uri="{FF2B5EF4-FFF2-40B4-BE49-F238E27FC236}">
                <a16:creationId xmlns:a16="http://schemas.microsoft.com/office/drawing/2014/main" id="{C22752F3-A11D-F3CE-9C28-1AC0B9FF7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22800" y="2035495"/>
            <a:ext cx="3535902" cy="3411523"/>
          </a:xfrm>
          <a:prstGeom prst="rect">
            <a:avLst/>
          </a:prstGeom>
        </p:spPr>
      </p:pic>
      <p:pic>
        <p:nvPicPr>
          <p:cNvPr id="7" name="Graphic 6">
            <a:extLst>
              <a:ext uri="{FF2B5EF4-FFF2-40B4-BE49-F238E27FC236}">
                <a16:creationId xmlns:a16="http://schemas.microsoft.com/office/drawing/2014/main" id="{8C1BD4B2-786C-28F8-387F-E3BBF4BE8E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60788" y="2035495"/>
            <a:ext cx="3535902" cy="3411523"/>
          </a:xfrm>
          <a:prstGeom prst="rect">
            <a:avLst/>
          </a:prstGeom>
        </p:spPr>
      </p:pic>
      <p:sp>
        <p:nvSpPr>
          <p:cNvPr id="10" name="Content Placeholder 18">
            <a:extLst>
              <a:ext uri="{FF2B5EF4-FFF2-40B4-BE49-F238E27FC236}">
                <a16:creationId xmlns:a16="http://schemas.microsoft.com/office/drawing/2014/main" id="{689A8D44-0CC8-383B-B4E2-AA3D6981A75D}"/>
              </a:ext>
            </a:extLst>
          </p:cNvPr>
          <p:cNvSpPr>
            <a:spLocks noGrp="1"/>
          </p:cNvSpPr>
          <p:nvPr>
            <p:ph sz="quarter" idx="11"/>
          </p:nvPr>
        </p:nvSpPr>
        <p:spPr>
          <a:xfrm>
            <a:off x="689907" y="2168278"/>
            <a:ext cx="3148384" cy="301924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8">
            <a:extLst>
              <a:ext uri="{FF2B5EF4-FFF2-40B4-BE49-F238E27FC236}">
                <a16:creationId xmlns:a16="http://schemas.microsoft.com/office/drawing/2014/main" id="{02D6D283-8AC2-EB13-B516-0E2D9E4CBBF4}"/>
              </a:ext>
            </a:extLst>
          </p:cNvPr>
          <p:cNvSpPr>
            <a:spLocks noGrp="1"/>
          </p:cNvSpPr>
          <p:nvPr>
            <p:ph sz="quarter" idx="12"/>
          </p:nvPr>
        </p:nvSpPr>
        <p:spPr>
          <a:xfrm>
            <a:off x="4505094" y="2168278"/>
            <a:ext cx="3148384" cy="301924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8">
            <a:extLst>
              <a:ext uri="{FF2B5EF4-FFF2-40B4-BE49-F238E27FC236}">
                <a16:creationId xmlns:a16="http://schemas.microsoft.com/office/drawing/2014/main" id="{244EC714-C35F-5891-DA25-0E04F73FDC6B}"/>
              </a:ext>
            </a:extLst>
          </p:cNvPr>
          <p:cNvSpPr>
            <a:spLocks noGrp="1"/>
          </p:cNvSpPr>
          <p:nvPr>
            <p:ph sz="quarter" idx="13"/>
          </p:nvPr>
        </p:nvSpPr>
        <p:spPr>
          <a:xfrm>
            <a:off x="8320281" y="2171485"/>
            <a:ext cx="3148384" cy="301924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023774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gue Viridis">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5ACA0FF3-745C-B3F9-31BA-0D72F6997897}"/>
              </a:ext>
            </a:extLst>
          </p:cNvPr>
          <p:cNvSpPr/>
          <p:nvPr/>
        </p:nvSpPr>
        <p:spPr>
          <a:xfrm>
            <a:off x="0" y="0"/>
            <a:ext cx="8433622" cy="5854259"/>
          </a:xfrm>
          <a:custGeom>
            <a:avLst/>
            <a:gdLst>
              <a:gd name="connsiteX0" fmla="*/ 3920070 w 8433622"/>
              <a:gd name="connsiteY0" fmla="*/ 0 h 5854259"/>
              <a:gd name="connsiteX1" fmla="*/ 3921623 w 8433622"/>
              <a:gd name="connsiteY1" fmla="*/ 0 h 5854259"/>
              <a:gd name="connsiteX2" fmla="*/ 3942361 w 8433622"/>
              <a:gd name="connsiteY2" fmla="*/ 2150 h 5854259"/>
              <a:gd name="connsiteX3" fmla="*/ 5611946 w 8433622"/>
              <a:gd name="connsiteY3" fmla="*/ 2151 h 5854259"/>
              <a:gd name="connsiteX4" fmla="*/ 5611946 w 8433622"/>
              <a:gd name="connsiteY4" fmla="*/ 2154 h 5854259"/>
              <a:gd name="connsiteX5" fmla="*/ 6351359 w 8433622"/>
              <a:gd name="connsiteY5" fmla="*/ 2154 h 5854259"/>
              <a:gd name="connsiteX6" fmla="*/ 6351360 w 8433622"/>
              <a:gd name="connsiteY6" fmla="*/ 1330 h 5854259"/>
              <a:gd name="connsiteX7" fmla="*/ 6351361 w 8433622"/>
              <a:gd name="connsiteY7" fmla="*/ 173 h 5854259"/>
              <a:gd name="connsiteX8" fmla="*/ 7146741 w 8433622"/>
              <a:gd name="connsiteY8" fmla="*/ 0 h 5854259"/>
              <a:gd name="connsiteX9" fmla="*/ 7167509 w 8433622"/>
              <a:gd name="connsiteY9" fmla="*/ 2154 h 5854259"/>
              <a:gd name="connsiteX10" fmla="*/ 7197882 w 8433622"/>
              <a:gd name="connsiteY10" fmla="*/ 2154 h 5854259"/>
              <a:gd name="connsiteX11" fmla="*/ 7197881 w 8433622"/>
              <a:gd name="connsiteY11" fmla="*/ 5304 h 5854259"/>
              <a:gd name="connsiteX12" fmla="*/ 7255678 w 8433622"/>
              <a:gd name="connsiteY12" fmla="*/ 11299 h 5854259"/>
              <a:gd name="connsiteX13" fmla="*/ 7540283 w 8433622"/>
              <a:gd name="connsiteY13" fmla="*/ 164653 h 5854259"/>
              <a:gd name="connsiteX14" fmla="*/ 8264607 w 8433622"/>
              <a:gd name="connsiteY14" fmla="*/ 888978 h 5854259"/>
              <a:gd name="connsiteX15" fmla="*/ 8429260 w 8433622"/>
              <a:gd name="connsiteY15" fmla="*/ 1282519 h 5854259"/>
              <a:gd name="connsiteX16" fmla="*/ 8429232 w 8433622"/>
              <a:gd name="connsiteY16" fmla="*/ 1416839 h 5854259"/>
              <a:gd name="connsiteX17" fmla="*/ 8433622 w 8433622"/>
              <a:gd name="connsiteY17" fmla="*/ 1416840 h 5854259"/>
              <a:gd name="connsiteX18" fmla="*/ 8433622 w 8433622"/>
              <a:gd name="connsiteY18" fmla="*/ 5852108 h 5854259"/>
              <a:gd name="connsiteX19" fmla="*/ 7197882 w 8433622"/>
              <a:gd name="connsiteY19" fmla="*/ 5852108 h 5854259"/>
              <a:gd name="connsiteX20" fmla="*/ 7197881 w 8433622"/>
              <a:gd name="connsiteY20" fmla="*/ 5852111 h 5854259"/>
              <a:gd name="connsiteX21" fmla="*/ 5303429 w 8433622"/>
              <a:gd name="connsiteY21" fmla="*/ 5852110 h 5854259"/>
              <a:gd name="connsiteX22" fmla="*/ 5303428 w 8433622"/>
              <a:gd name="connsiteY22" fmla="*/ 5852929 h 5854259"/>
              <a:gd name="connsiteX23" fmla="*/ 5303427 w 8433622"/>
              <a:gd name="connsiteY23" fmla="*/ 5854086 h 5854259"/>
              <a:gd name="connsiteX24" fmla="*/ 4508047 w 8433622"/>
              <a:gd name="connsiteY24" fmla="*/ 5854259 h 5854259"/>
              <a:gd name="connsiteX25" fmla="*/ 4487306 w 8433622"/>
              <a:gd name="connsiteY25" fmla="*/ 5852108 h 5854259"/>
              <a:gd name="connsiteX26" fmla="*/ 3972763 w 8433622"/>
              <a:gd name="connsiteY26" fmla="*/ 5852108 h 5854259"/>
              <a:gd name="connsiteX27" fmla="*/ 3972763 w 8433622"/>
              <a:gd name="connsiteY27" fmla="*/ 5852110 h 5854259"/>
              <a:gd name="connsiteX28" fmla="*/ 2078312 w 8433622"/>
              <a:gd name="connsiteY28" fmla="*/ 5852111 h 5854259"/>
              <a:gd name="connsiteX29" fmla="*/ 2078310 w 8433622"/>
              <a:gd name="connsiteY29" fmla="*/ 5852929 h 5854259"/>
              <a:gd name="connsiteX30" fmla="*/ 2078308 w 8433622"/>
              <a:gd name="connsiteY30" fmla="*/ 5854086 h 5854259"/>
              <a:gd name="connsiteX31" fmla="*/ 1282928 w 8433622"/>
              <a:gd name="connsiteY31" fmla="*/ 5854259 h 5854259"/>
              <a:gd name="connsiteX32" fmla="*/ 889387 w 8433622"/>
              <a:gd name="connsiteY32" fmla="*/ 5689605 h 5854259"/>
              <a:gd name="connsiteX33" fmla="*/ 165062 w 8433622"/>
              <a:gd name="connsiteY33" fmla="*/ 4965281 h 5854259"/>
              <a:gd name="connsiteX34" fmla="*/ 408 w 8433622"/>
              <a:gd name="connsiteY34" fmla="*/ 4571739 h 5854259"/>
              <a:gd name="connsiteX35" fmla="*/ 438 w 8433622"/>
              <a:gd name="connsiteY35" fmla="*/ 4437419 h 5854259"/>
              <a:gd name="connsiteX36" fmla="*/ 0 w 8433622"/>
              <a:gd name="connsiteY36" fmla="*/ 4437419 h 5854259"/>
              <a:gd name="connsiteX37" fmla="*/ 0 w 8433622"/>
              <a:gd name="connsiteY37" fmla="*/ 2151 h 5854259"/>
              <a:gd name="connsiteX38" fmla="*/ 2386827 w 8433622"/>
              <a:gd name="connsiteY38" fmla="*/ 2151 h 5854259"/>
              <a:gd name="connsiteX39" fmla="*/ 2386827 w 8433622"/>
              <a:gd name="connsiteY39" fmla="*/ 2154 h 5854259"/>
              <a:gd name="connsiteX40" fmla="*/ 3126241 w 8433622"/>
              <a:gd name="connsiteY40" fmla="*/ 2154 h 5854259"/>
              <a:gd name="connsiteX41" fmla="*/ 3126241 w 8433622"/>
              <a:gd name="connsiteY41" fmla="*/ 1330 h 5854259"/>
              <a:gd name="connsiteX42" fmla="*/ 3126243 w 8433622"/>
              <a:gd name="connsiteY42" fmla="*/ 173 h 5854259"/>
              <a:gd name="connsiteX43" fmla="*/ 3920070 w 8433622"/>
              <a:gd name="connsiteY43"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433622" h="5854259">
                <a:moveTo>
                  <a:pt x="3920070" y="0"/>
                </a:moveTo>
                <a:cubicBezTo>
                  <a:pt x="3921623" y="0"/>
                  <a:pt x="3921623" y="0"/>
                  <a:pt x="3921623" y="0"/>
                </a:cubicBezTo>
                <a:lnTo>
                  <a:pt x="3942361" y="2150"/>
                </a:lnTo>
                <a:lnTo>
                  <a:pt x="5611946" y="2151"/>
                </a:lnTo>
                <a:lnTo>
                  <a:pt x="5611946" y="2154"/>
                </a:lnTo>
                <a:lnTo>
                  <a:pt x="6351359" y="2154"/>
                </a:lnTo>
                <a:lnTo>
                  <a:pt x="6351360" y="1330"/>
                </a:lnTo>
                <a:cubicBezTo>
                  <a:pt x="6351361" y="173"/>
                  <a:pt x="6351361" y="173"/>
                  <a:pt x="6351361" y="173"/>
                </a:cubicBezTo>
                <a:cubicBezTo>
                  <a:pt x="7146741" y="0"/>
                  <a:pt x="7146741" y="0"/>
                  <a:pt x="7146741" y="0"/>
                </a:cubicBezTo>
                <a:lnTo>
                  <a:pt x="7167509" y="2154"/>
                </a:lnTo>
                <a:lnTo>
                  <a:pt x="7197882" y="2154"/>
                </a:lnTo>
                <a:lnTo>
                  <a:pt x="7197881" y="5304"/>
                </a:lnTo>
                <a:lnTo>
                  <a:pt x="7255678" y="11299"/>
                </a:lnTo>
                <a:cubicBezTo>
                  <a:pt x="7362449" y="33070"/>
                  <a:pt x="7461371" y="85742"/>
                  <a:pt x="7540283" y="164653"/>
                </a:cubicBezTo>
                <a:cubicBezTo>
                  <a:pt x="8264607" y="888978"/>
                  <a:pt x="8264607" y="888978"/>
                  <a:pt x="8264607" y="888978"/>
                </a:cubicBezTo>
                <a:cubicBezTo>
                  <a:pt x="8368715" y="993086"/>
                  <a:pt x="8428389" y="1134982"/>
                  <a:pt x="8429260" y="1282519"/>
                </a:cubicBezTo>
                <a:lnTo>
                  <a:pt x="8429232" y="1416839"/>
                </a:lnTo>
                <a:lnTo>
                  <a:pt x="8433622" y="1416840"/>
                </a:lnTo>
                <a:lnTo>
                  <a:pt x="8433622" y="5852108"/>
                </a:lnTo>
                <a:lnTo>
                  <a:pt x="7197882" y="5852108"/>
                </a:lnTo>
                <a:lnTo>
                  <a:pt x="7197881" y="5852111"/>
                </a:lnTo>
                <a:lnTo>
                  <a:pt x="5303429" y="5852110"/>
                </a:lnTo>
                <a:lnTo>
                  <a:pt x="5303428" y="5852929"/>
                </a:lnTo>
                <a:cubicBezTo>
                  <a:pt x="5303427" y="5854086"/>
                  <a:pt x="5303427" y="5854086"/>
                  <a:pt x="5303427" y="5854086"/>
                </a:cubicBezTo>
                <a:cubicBezTo>
                  <a:pt x="4508047" y="5854259"/>
                  <a:pt x="4508047" y="5854259"/>
                  <a:pt x="4508047" y="5854259"/>
                </a:cubicBezTo>
                <a:lnTo>
                  <a:pt x="4487306"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0" name="Freeform: Shape 29">
            <a:extLst>
              <a:ext uri="{FF2B5EF4-FFF2-40B4-BE49-F238E27FC236}">
                <a16:creationId xmlns:a16="http://schemas.microsoft.com/office/drawing/2014/main" id="{7E10EB5A-F6DE-9F4E-2117-2176E75AEACD}"/>
              </a:ext>
            </a:extLst>
          </p:cNvPr>
          <p:cNvSpPr/>
          <p:nvPr/>
        </p:nvSpPr>
        <p:spPr>
          <a:xfrm>
            <a:off x="0" y="0"/>
            <a:ext cx="8433622" cy="5854259"/>
          </a:xfrm>
          <a:custGeom>
            <a:avLst/>
            <a:gdLst>
              <a:gd name="connsiteX0" fmla="*/ 3920070 w 8433622"/>
              <a:gd name="connsiteY0" fmla="*/ 0 h 5854259"/>
              <a:gd name="connsiteX1" fmla="*/ 3921623 w 8433622"/>
              <a:gd name="connsiteY1" fmla="*/ 0 h 5854259"/>
              <a:gd name="connsiteX2" fmla="*/ 3942361 w 8433622"/>
              <a:gd name="connsiteY2" fmla="*/ 2150 h 5854259"/>
              <a:gd name="connsiteX3" fmla="*/ 5611946 w 8433622"/>
              <a:gd name="connsiteY3" fmla="*/ 2151 h 5854259"/>
              <a:gd name="connsiteX4" fmla="*/ 5611946 w 8433622"/>
              <a:gd name="connsiteY4" fmla="*/ 2154 h 5854259"/>
              <a:gd name="connsiteX5" fmla="*/ 6351359 w 8433622"/>
              <a:gd name="connsiteY5" fmla="*/ 2154 h 5854259"/>
              <a:gd name="connsiteX6" fmla="*/ 6351360 w 8433622"/>
              <a:gd name="connsiteY6" fmla="*/ 1330 h 5854259"/>
              <a:gd name="connsiteX7" fmla="*/ 6351361 w 8433622"/>
              <a:gd name="connsiteY7" fmla="*/ 173 h 5854259"/>
              <a:gd name="connsiteX8" fmla="*/ 7146741 w 8433622"/>
              <a:gd name="connsiteY8" fmla="*/ 0 h 5854259"/>
              <a:gd name="connsiteX9" fmla="*/ 7167509 w 8433622"/>
              <a:gd name="connsiteY9" fmla="*/ 2154 h 5854259"/>
              <a:gd name="connsiteX10" fmla="*/ 7197882 w 8433622"/>
              <a:gd name="connsiteY10" fmla="*/ 2154 h 5854259"/>
              <a:gd name="connsiteX11" fmla="*/ 7197881 w 8433622"/>
              <a:gd name="connsiteY11" fmla="*/ 5304 h 5854259"/>
              <a:gd name="connsiteX12" fmla="*/ 7255678 w 8433622"/>
              <a:gd name="connsiteY12" fmla="*/ 11299 h 5854259"/>
              <a:gd name="connsiteX13" fmla="*/ 7540283 w 8433622"/>
              <a:gd name="connsiteY13" fmla="*/ 164653 h 5854259"/>
              <a:gd name="connsiteX14" fmla="*/ 8264607 w 8433622"/>
              <a:gd name="connsiteY14" fmla="*/ 888978 h 5854259"/>
              <a:gd name="connsiteX15" fmla="*/ 8429260 w 8433622"/>
              <a:gd name="connsiteY15" fmla="*/ 1282519 h 5854259"/>
              <a:gd name="connsiteX16" fmla="*/ 8429232 w 8433622"/>
              <a:gd name="connsiteY16" fmla="*/ 1416839 h 5854259"/>
              <a:gd name="connsiteX17" fmla="*/ 8433622 w 8433622"/>
              <a:gd name="connsiteY17" fmla="*/ 1416840 h 5854259"/>
              <a:gd name="connsiteX18" fmla="*/ 8433622 w 8433622"/>
              <a:gd name="connsiteY18" fmla="*/ 5852108 h 5854259"/>
              <a:gd name="connsiteX19" fmla="*/ 7197882 w 8433622"/>
              <a:gd name="connsiteY19" fmla="*/ 5852108 h 5854259"/>
              <a:gd name="connsiteX20" fmla="*/ 7197881 w 8433622"/>
              <a:gd name="connsiteY20" fmla="*/ 5852111 h 5854259"/>
              <a:gd name="connsiteX21" fmla="*/ 5303429 w 8433622"/>
              <a:gd name="connsiteY21" fmla="*/ 5852110 h 5854259"/>
              <a:gd name="connsiteX22" fmla="*/ 5303428 w 8433622"/>
              <a:gd name="connsiteY22" fmla="*/ 5852929 h 5854259"/>
              <a:gd name="connsiteX23" fmla="*/ 5303427 w 8433622"/>
              <a:gd name="connsiteY23" fmla="*/ 5854086 h 5854259"/>
              <a:gd name="connsiteX24" fmla="*/ 4508047 w 8433622"/>
              <a:gd name="connsiteY24" fmla="*/ 5854259 h 5854259"/>
              <a:gd name="connsiteX25" fmla="*/ 4487306 w 8433622"/>
              <a:gd name="connsiteY25" fmla="*/ 5852108 h 5854259"/>
              <a:gd name="connsiteX26" fmla="*/ 3972763 w 8433622"/>
              <a:gd name="connsiteY26" fmla="*/ 5852108 h 5854259"/>
              <a:gd name="connsiteX27" fmla="*/ 3972763 w 8433622"/>
              <a:gd name="connsiteY27" fmla="*/ 5852110 h 5854259"/>
              <a:gd name="connsiteX28" fmla="*/ 2078312 w 8433622"/>
              <a:gd name="connsiteY28" fmla="*/ 5852111 h 5854259"/>
              <a:gd name="connsiteX29" fmla="*/ 2078310 w 8433622"/>
              <a:gd name="connsiteY29" fmla="*/ 5852929 h 5854259"/>
              <a:gd name="connsiteX30" fmla="*/ 2078308 w 8433622"/>
              <a:gd name="connsiteY30" fmla="*/ 5854086 h 5854259"/>
              <a:gd name="connsiteX31" fmla="*/ 1282928 w 8433622"/>
              <a:gd name="connsiteY31" fmla="*/ 5854259 h 5854259"/>
              <a:gd name="connsiteX32" fmla="*/ 889387 w 8433622"/>
              <a:gd name="connsiteY32" fmla="*/ 5689605 h 5854259"/>
              <a:gd name="connsiteX33" fmla="*/ 165062 w 8433622"/>
              <a:gd name="connsiteY33" fmla="*/ 4965281 h 5854259"/>
              <a:gd name="connsiteX34" fmla="*/ 408 w 8433622"/>
              <a:gd name="connsiteY34" fmla="*/ 4571739 h 5854259"/>
              <a:gd name="connsiteX35" fmla="*/ 438 w 8433622"/>
              <a:gd name="connsiteY35" fmla="*/ 4437419 h 5854259"/>
              <a:gd name="connsiteX36" fmla="*/ 0 w 8433622"/>
              <a:gd name="connsiteY36" fmla="*/ 4437419 h 5854259"/>
              <a:gd name="connsiteX37" fmla="*/ 0 w 8433622"/>
              <a:gd name="connsiteY37" fmla="*/ 2151 h 5854259"/>
              <a:gd name="connsiteX38" fmla="*/ 2386827 w 8433622"/>
              <a:gd name="connsiteY38" fmla="*/ 2151 h 5854259"/>
              <a:gd name="connsiteX39" fmla="*/ 2386827 w 8433622"/>
              <a:gd name="connsiteY39" fmla="*/ 2154 h 5854259"/>
              <a:gd name="connsiteX40" fmla="*/ 3126241 w 8433622"/>
              <a:gd name="connsiteY40" fmla="*/ 2154 h 5854259"/>
              <a:gd name="connsiteX41" fmla="*/ 3126241 w 8433622"/>
              <a:gd name="connsiteY41" fmla="*/ 1330 h 5854259"/>
              <a:gd name="connsiteX42" fmla="*/ 3126243 w 8433622"/>
              <a:gd name="connsiteY42" fmla="*/ 173 h 5854259"/>
              <a:gd name="connsiteX43" fmla="*/ 3920070 w 8433622"/>
              <a:gd name="connsiteY43"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433622" h="5854259">
                <a:moveTo>
                  <a:pt x="3920070" y="0"/>
                </a:moveTo>
                <a:cubicBezTo>
                  <a:pt x="3921623" y="0"/>
                  <a:pt x="3921623" y="0"/>
                  <a:pt x="3921623" y="0"/>
                </a:cubicBezTo>
                <a:lnTo>
                  <a:pt x="3942361" y="2150"/>
                </a:lnTo>
                <a:lnTo>
                  <a:pt x="5611946" y="2151"/>
                </a:lnTo>
                <a:lnTo>
                  <a:pt x="5611946" y="2154"/>
                </a:lnTo>
                <a:lnTo>
                  <a:pt x="6351359" y="2154"/>
                </a:lnTo>
                <a:lnTo>
                  <a:pt x="6351360" y="1330"/>
                </a:lnTo>
                <a:cubicBezTo>
                  <a:pt x="6351361" y="173"/>
                  <a:pt x="6351361" y="173"/>
                  <a:pt x="6351361" y="173"/>
                </a:cubicBezTo>
                <a:cubicBezTo>
                  <a:pt x="7146741" y="0"/>
                  <a:pt x="7146741" y="0"/>
                  <a:pt x="7146741" y="0"/>
                </a:cubicBezTo>
                <a:lnTo>
                  <a:pt x="7167509" y="2154"/>
                </a:lnTo>
                <a:lnTo>
                  <a:pt x="7197882" y="2154"/>
                </a:lnTo>
                <a:lnTo>
                  <a:pt x="7197881" y="5304"/>
                </a:lnTo>
                <a:lnTo>
                  <a:pt x="7255678" y="11299"/>
                </a:lnTo>
                <a:cubicBezTo>
                  <a:pt x="7362449" y="33070"/>
                  <a:pt x="7461371" y="85742"/>
                  <a:pt x="7540283" y="164653"/>
                </a:cubicBezTo>
                <a:cubicBezTo>
                  <a:pt x="8264607" y="888978"/>
                  <a:pt x="8264607" y="888978"/>
                  <a:pt x="8264607" y="888978"/>
                </a:cubicBezTo>
                <a:cubicBezTo>
                  <a:pt x="8368715" y="993086"/>
                  <a:pt x="8428389" y="1134982"/>
                  <a:pt x="8429260" y="1282519"/>
                </a:cubicBezTo>
                <a:lnTo>
                  <a:pt x="8429232" y="1416839"/>
                </a:lnTo>
                <a:lnTo>
                  <a:pt x="8433622" y="1416840"/>
                </a:lnTo>
                <a:lnTo>
                  <a:pt x="8433622" y="5852108"/>
                </a:lnTo>
                <a:lnTo>
                  <a:pt x="7197882" y="5852108"/>
                </a:lnTo>
                <a:lnTo>
                  <a:pt x="7197881" y="5852111"/>
                </a:lnTo>
                <a:lnTo>
                  <a:pt x="5303429" y="5852110"/>
                </a:lnTo>
                <a:lnTo>
                  <a:pt x="5303428" y="5852929"/>
                </a:lnTo>
                <a:cubicBezTo>
                  <a:pt x="5303427" y="5854086"/>
                  <a:pt x="5303427" y="5854086"/>
                  <a:pt x="5303427" y="5854086"/>
                </a:cubicBezTo>
                <a:cubicBezTo>
                  <a:pt x="4508047" y="5854259"/>
                  <a:pt x="4508047" y="5854259"/>
                  <a:pt x="4508047" y="5854259"/>
                </a:cubicBezTo>
                <a:lnTo>
                  <a:pt x="4487306"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3" name="Title 1">
            <a:extLst>
              <a:ext uri="{FF2B5EF4-FFF2-40B4-BE49-F238E27FC236}">
                <a16:creationId xmlns:a16="http://schemas.microsoft.com/office/drawing/2014/main" id="{6692DA30-7E49-60E7-C70F-22061A006E26}"/>
              </a:ext>
            </a:extLst>
          </p:cNvPr>
          <p:cNvSpPr>
            <a:spLocks noGrp="1"/>
          </p:cNvSpPr>
          <p:nvPr>
            <p:ph type="title"/>
          </p:nvPr>
        </p:nvSpPr>
        <p:spPr>
          <a:xfrm>
            <a:off x="1440315" y="1447799"/>
            <a:ext cx="6065385" cy="3167743"/>
          </a:xfrm>
        </p:spPr>
        <p:txBody>
          <a:bodyPr anchor="ctr">
            <a:noAutofit/>
          </a:bodyPr>
          <a:lstStyle>
            <a:lvl1pPr>
              <a:lnSpc>
                <a:spcPct val="84000"/>
              </a:lnSpc>
              <a:defRPr sz="7200">
                <a:solidFill>
                  <a:schemeClr val="accent1"/>
                </a:solidFill>
              </a:defRPr>
            </a:lvl1pPr>
          </a:lstStyle>
          <a:p>
            <a:r>
              <a:rPr lang="en-US"/>
              <a:t>Click to edit Master title style</a:t>
            </a:r>
          </a:p>
        </p:txBody>
      </p:sp>
      <p:sp>
        <p:nvSpPr>
          <p:cNvPr id="3" name="Text Placeholder 25">
            <a:extLst>
              <a:ext uri="{FF2B5EF4-FFF2-40B4-BE49-F238E27FC236}">
                <a16:creationId xmlns:a16="http://schemas.microsoft.com/office/drawing/2014/main" id="{BCFC4176-9DE3-B70C-EEA6-E92C0551B13A}"/>
              </a:ext>
            </a:extLst>
          </p:cNvPr>
          <p:cNvSpPr>
            <a:spLocks noGrp="1"/>
          </p:cNvSpPr>
          <p:nvPr>
            <p:ph type="body" sz="quarter" idx="11" hasCustomPrompt="1"/>
          </p:nvPr>
        </p:nvSpPr>
        <p:spPr>
          <a:xfrm>
            <a:off x="9077325" y="3883114"/>
            <a:ext cx="2619376" cy="289711"/>
          </a:xfrm>
          <a:prstGeom prst="rect">
            <a:avLst/>
          </a:prstGeom>
        </p:spPr>
        <p:txBody>
          <a:bodyPr anchor="b">
            <a:noAutofit/>
          </a:bodyPr>
          <a:lstStyle>
            <a:lvl1pPr marL="0" indent="0">
              <a:buNone/>
              <a:defRPr sz="2100">
                <a:solidFill>
                  <a:schemeClr val="accent2"/>
                </a:solidFill>
                <a:latin typeface="+mj-lt"/>
              </a:defRPr>
            </a:lvl1pPr>
          </a:lstStyle>
          <a:p>
            <a:pPr lvl="0"/>
            <a:r>
              <a:rPr lang="en-US"/>
              <a:t>Section 00</a:t>
            </a:r>
          </a:p>
        </p:txBody>
      </p:sp>
      <p:sp>
        <p:nvSpPr>
          <p:cNvPr id="4" name="Subtitle 2">
            <a:extLst>
              <a:ext uri="{FF2B5EF4-FFF2-40B4-BE49-F238E27FC236}">
                <a16:creationId xmlns:a16="http://schemas.microsoft.com/office/drawing/2014/main" id="{A605E036-9278-326A-A717-B279EB022958}"/>
              </a:ext>
            </a:extLst>
          </p:cNvPr>
          <p:cNvSpPr>
            <a:spLocks noGrp="1"/>
          </p:cNvSpPr>
          <p:nvPr>
            <p:ph type="subTitle" idx="1"/>
          </p:nvPr>
        </p:nvSpPr>
        <p:spPr>
          <a:xfrm>
            <a:off x="9077325" y="4179245"/>
            <a:ext cx="2619375" cy="961080"/>
          </a:xfrm>
        </p:spPr>
        <p:txBody>
          <a:bodyPr>
            <a:noAutofit/>
          </a:bodyPr>
          <a:lstStyle>
            <a:lvl1pPr marL="0" indent="0" algn="l">
              <a:buNone/>
              <a:defRPr sz="24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69786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gue Sky">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7E10EB5A-F6DE-9F4E-2117-2176E75AEACD}"/>
              </a:ext>
            </a:extLst>
          </p:cNvPr>
          <p:cNvSpPr/>
          <p:nvPr/>
        </p:nvSpPr>
        <p:spPr>
          <a:xfrm>
            <a:off x="0" y="0"/>
            <a:ext cx="8433622" cy="5854259"/>
          </a:xfrm>
          <a:custGeom>
            <a:avLst/>
            <a:gdLst>
              <a:gd name="connsiteX0" fmla="*/ 3920070 w 8433622"/>
              <a:gd name="connsiteY0" fmla="*/ 0 h 5854259"/>
              <a:gd name="connsiteX1" fmla="*/ 3921623 w 8433622"/>
              <a:gd name="connsiteY1" fmla="*/ 0 h 5854259"/>
              <a:gd name="connsiteX2" fmla="*/ 3942361 w 8433622"/>
              <a:gd name="connsiteY2" fmla="*/ 2150 h 5854259"/>
              <a:gd name="connsiteX3" fmla="*/ 5611946 w 8433622"/>
              <a:gd name="connsiteY3" fmla="*/ 2151 h 5854259"/>
              <a:gd name="connsiteX4" fmla="*/ 5611946 w 8433622"/>
              <a:gd name="connsiteY4" fmla="*/ 2154 h 5854259"/>
              <a:gd name="connsiteX5" fmla="*/ 6351359 w 8433622"/>
              <a:gd name="connsiteY5" fmla="*/ 2154 h 5854259"/>
              <a:gd name="connsiteX6" fmla="*/ 6351360 w 8433622"/>
              <a:gd name="connsiteY6" fmla="*/ 1330 h 5854259"/>
              <a:gd name="connsiteX7" fmla="*/ 6351361 w 8433622"/>
              <a:gd name="connsiteY7" fmla="*/ 173 h 5854259"/>
              <a:gd name="connsiteX8" fmla="*/ 7146741 w 8433622"/>
              <a:gd name="connsiteY8" fmla="*/ 0 h 5854259"/>
              <a:gd name="connsiteX9" fmla="*/ 7167509 w 8433622"/>
              <a:gd name="connsiteY9" fmla="*/ 2154 h 5854259"/>
              <a:gd name="connsiteX10" fmla="*/ 7197882 w 8433622"/>
              <a:gd name="connsiteY10" fmla="*/ 2154 h 5854259"/>
              <a:gd name="connsiteX11" fmla="*/ 7197881 w 8433622"/>
              <a:gd name="connsiteY11" fmla="*/ 5304 h 5854259"/>
              <a:gd name="connsiteX12" fmla="*/ 7255678 w 8433622"/>
              <a:gd name="connsiteY12" fmla="*/ 11299 h 5854259"/>
              <a:gd name="connsiteX13" fmla="*/ 7540283 w 8433622"/>
              <a:gd name="connsiteY13" fmla="*/ 164653 h 5854259"/>
              <a:gd name="connsiteX14" fmla="*/ 8264607 w 8433622"/>
              <a:gd name="connsiteY14" fmla="*/ 888978 h 5854259"/>
              <a:gd name="connsiteX15" fmla="*/ 8429260 w 8433622"/>
              <a:gd name="connsiteY15" fmla="*/ 1282519 h 5854259"/>
              <a:gd name="connsiteX16" fmla="*/ 8429232 w 8433622"/>
              <a:gd name="connsiteY16" fmla="*/ 1416839 h 5854259"/>
              <a:gd name="connsiteX17" fmla="*/ 8433622 w 8433622"/>
              <a:gd name="connsiteY17" fmla="*/ 1416840 h 5854259"/>
              <a:gd name="connsiteX18" fmla="*/ 8433622 w 8433622"/>
              <a:gd name="connsiteY18" fmla="*/ 5852108 h 5854259"/>
              <a:gd name="connsiteX19" fmla="*/ 7197882 w 8433622"/>
              <a:gd name="connsiteY19" fmla="*/ 5852108 h 5854259"/>
              <a:gd name="connsiteX20" fmla="*/ 7197881 w 8433622"/>
              <a:gd name="connsiteY20" fmla="*/ 5852111 h 5854259"/>
              <a:gd name="connsiteX21" fmla="*/ 5303429 w 8433622"/>
              <a:gd name="connsiteY21" fmla="*/ 5852110 h 5854259"/>
              <a:gd name="connsiteX22" fmla="*/ 5303428 w 8433622"/>
              <a:gd name="connsiteY22" fmla="*/ 5852929 h 5854259"/>
              <a:gd name="connsiteX23" fmla="*/ 5303427 w 8433622"/>
              <a:gd name="connsiteY23" fmla="*/ 5854086 h 5854259"/>
              <a:gd name="connsiteX24" fmla="*/ 4508047 w 8433622"/>
              <a:gd name="connsiteY24" fmla="*/ 5854259 h 5854259"/>
              <a:gd name="connsiteX25" fmla="*/ 4487306 w 8433622"/>
              <a:gd name="connsiteY25" fmla="*/ 5852108 h 5854259"/>
              <a:gd name="connsiteX26" fmla="*/ 3972763 w 8433622"/>
              <a:gd name="connsiteY26" fmla="*/ 5852108 h 5854259"/>
              <a:gd name="connsiteX27" fmla="*/ 3972763 w 8433622"/>
              <a:gd name="connsiteY27" fmla="*/ 5852110 h 5854259"/>
              <a:gd name="connsiteX28" fmla="*/ 2078312 w 8433622"/>
              <a:gd name="connsiteY28" fmla="*/ 5852111 h 5854259"/>
              <a:gd name="connsiteX29" fmla="*/ 2078310 w 8433622"/>
              <a:gd name="connsiteY29" fmla="*/ 5852929 h 5854259"/>
              <a:gd name="connsiteX30" fmla="*/ 2078308 w 8433622"/>
              <a:gd name="connsiteY30" fmla="*/ 5854086 h 5854259"/>
              <a:gd name="connsiteX31" fmla="*/ 1282928 w 8433622"/>
              <a:gd name="connsiteY31" fmla="*/ 5854259 h 5854259"/>
              <a:gd name="connsiteX32" fmla="*/ 889387 w 8433622"/>
              <a:gd name="connsiteY32" fmla="*/ 5689605 h 5854259"/>
              <a:gd name="connsiteX33" fmla="*/ 165062 w 8433622"/>
              <a:gd name="connsiteY33" fmla="*/ 4965281 h 5854259"/>
              <a:gd name="connsiteX34" fmla="*/ 408 w 8433622"/>
              <a:gd name="connsiteY34" fmla="*/ 4571739 h 5854259"/>
              <a:gd name="connsiteX35" fmla="*/ 438 w 8433622"/>
              <a:gd name="connsiteY35" fmla="*/ 4437419 h 5854259"/>
              <a:gd name="connsiteX36" fmla="*/ 0 w 8433622"/>
              <a:gd name="connsiteY36" fmla="*/ 4437419 h 5854259"/>
              <a:gd name="connsiteX37" fmla="*/ 0 w 8433622"/>
              <a:gd name="connsiteY37" fmla="*/ 2151 h 5854259"/>
              <a:gd name="connsiteX38" fmla="*/ 2386827 w 8433622"/>
              <a:gd name="connsiteY38" fmla="*/ 2151 h 5854259"/>
              <a:gd name="connsiteX39" fmla="*/ 2386827 w 8433622"/>
              <a:gd name="connsiteY39" fmla="*/ 2154 h 5854259"/>
              <a:gd name="connsiteX40" fmla="*/ 3126241 w 8433622"/>
              <a:gd name="connsiteY40" fmla="*/ 2154 h 5854259"/>
              <a:gd name="connsiteX41" fmla="*/ 3126241 w 8433622"/>
              <a:gd name="connsiteY41" fmla="*/ 1330 h 5854259"/>
              <a:gd name="connsiteX42" fmla="*/ 3126243 w 8433622"/>
              <a:gd name="connsiteY42" fmla="*/ 173 h 5854259"/>
              <a:gd name="connsiteX43" fmla="*/ 3920070 w 8433622"/>
              <a:gd name="connsiteY43"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433622" h="5854259">
                <a:moveTo>
                  <a:pt x="3920070" y="0"/>
                </a:moveTo>
                <a:cubicBezTo>
                  <a:pt x="3921623" y="0"/>
                  <a:pt x="3921623" y="0"/>
                  <a:pt x="3921623" y="0"/>
                </a:cubicBezTo>
                <a:lnTo>
                  <a:pt x="3942361" y="2150"/>
                </a:lnTo>
                <a:lnTo>
                  <a:pt x="5611946" y="2151"/>
                </a:lnTo>
                <a:lnTo>
                  <a:pt x="5611946" y="2154"/>
                </a:lnTo>
                <a:lnTo>
                  <a:pt x="6351359" y="2154"/>
                </a:lnTo>
                <a:lnTo>
                  <a:pt x="6351360" y="1330"/>
                </a:lnTo>
                <a:cubicBezTo>
                  <a:pt x="6351361" y="173"/>
                  <a:pt x="6351361" y="173"/>
                  <a:pt x="6351361" y="173"/>
                </a:cubicBezTo>
                <a:cubicBezTo>
                  <a:pt x="7146741" y="0"/>
                  <a:pt x="7146741" y="0"/>
                  <a:pt x="7146741" y="0"/>
                </a:cubicBezTo>
                <a:lnTo>
                  <a:pt x="7167509" y="2154"/>
                </a:lnTo>
                <a:lnTo>
                  <a:pt x="7197882" y="2154"/>
                </a:lnTo>
                <a:lnTo>
                  <a:pt x="7197881" y="5304"/>
                </a:lnTo>
                <a:lnTo>
                  <a:pt x="7255678" y="11299"/>
                </a:lnTo>
                <a:cubicBezTo>
                  <a:pt x="7362449" y="33070"/>
                  <a:pt x="7461371" y="85742"/>
                  <a:pt x="7540283" y="164653"/>
                </a:cubicBezTo>
                <a:cubicBezTo>
                  <a:pt x="8264607" y="888978"/>
                  <a:pt x="8264607" y="888978"/>
                  <a:pt x="8264607" y="888978"/>
                </a:cubicBezTo>
                <a:cubicBezTo>
                  <a:pt x="8368715" y="993086"/>
                  <a:pt x="8428389" y="1134982"/>
                  <a:pt x="8429260" y="1282519"/>
                </a:cubicBezTo>
                <a:lnTo>
                  <a:pt x="8429232" y="1416839"/>
                </a:lnTo>
                <a:lnTo>
                  <a:pt x="8433622" y="1416840"/>
                </a:lnTo>
                <a:lnTo>
                  <a:pt x="8433622" y="5852108"/>
                </a:lnTo>
                <a:lnTo>
                  <a:pt x="7197882" y="5852108"/>
                </a:lnTo>
                <a:lnTo>
                  <a:pt x="7197881" y="5852111"/>
                </a:lnTo>
                <a:lnTo>
                  <a:pt x="5303429" y="5852110"/>
                </a:lnTo>
                <a:lnTo>
                  <a:pt x="5303428" y="5852929"/>
                </a:lnTo>
                <a:cubicBezTo>
                  <a:pt x="5303427" y="5854086"/>
                  <a:pt x="5303427" y="5854086"/>
                  <a:pt x="5303427" y="5854086"/>
                </a:cubicBezTo>
                <a:cubicBezTo>
                  <a:pt x="4508047" y="5854259"/>
                  <a:pt x="4508047" y="5854259"/>
                  <a:pt x="4508047" y="5854259"/>
                </a:cubicBezTo>
                <a:lnTo>
                  <a:pt x="4487306"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3" name="Title 1">
            <a:extLst>
              <a:ext uri="{FF2B5EF4-FFF2-40B4-BE49-F238E27FC236}">
                <a16:creationId xmlns:a16="http://schemas.microsoft.com/office/drawing/2014/main" id="{6692DA30-7E49-60E7-C70F-22061A006E26}"/>
              </a:ext>
            </a:extLst>
          </p:cNvPr>
          <p:cNvSpPr>
            <a:spLocks noGrp="1"/>
          </p:cNvSpPr>
          <p:nvPr>
            <p:ph type="title"/>
          </p:nvPr>
        </p:nvSpPr>
        <p:spPr>
          <a:xfrm>
            <a:off x="1440315" y="1447799"/>
            <a:ext cx="6065385" cy="3167743"/>
          </a:xfrm>
        </p:spPr>
        <p:txBody>
          <a:bodyPr anchor="ctr">
            <a:noAutofit/>
          </a:bodyPr>
          <a:lstStyle>
            <a:lvl1pPr>
              <a:lnSpc>
                <a:spcPct val="84000"/>
              </a:lnSpc>
              <a:defRPr sz="7200">
                <a:solidFill>
                  <a:schemeClr val="bg1"/>
                </a:solidFill>
              </a:defRPr>
            </a:lvl1pPr>
          </a:lstStyle>
          <a:p>
            <a:r>
              <a:rPr lang="en-US"/>
              <a:t>Click to edit Master title style</a:t>
            </a:r>
          </a:p>
        </p:txBody>
      </p:sp>
      <p:sp>
        <p:nvSpPr>
          <p:cNvPr id="3" name="Text Placeholder 25">
            <a:extLst>
              <a:ext uri="{FF2B5EF4-FFF2-40B4-BE49-F238E27FC236}">
                <a16:creationId xmlns:a16="http://schemas.microsoft.com/office/drawing/2014/main" id="{EC896C82-CBBA-75F8-E833-2663BE43FB1C}"/>
              </a:ext>
            </a:extLst>
          </p:cNvPr>
          <p:cNvSpPr>
            <a:spLocks noGrp="1"/>
          </p:cNvSpPr>
          <p:nvPr>
            <p:ph type="body" sz="quarter" idx="11" hasCustomPrompt="1"/>
          </p:nvPr>
        </p:nvSpPr>
        <p:spPr>
          <a:xfrm>
            <a:off x="9077325" y="3883114"/>
            <a:ext cx="2619376" cy="289711"/>
          </a:xfrm>
          <a:prstGeom prst="rect">
            <a:avLst/>
          </a:prstGeom>
        </p:spPr>
        <p:txBody>
          <a:bodyPr anchor="b"/>
          <a:lstStyle>
            <a:lvl1pPr marL="0" indent="0">
              <a:buNone/>
              <a:defRPr sz="2100">
                <a:solidFill>
                  <a:schemeClr val="accent4"/>
                </a:solidFill>
                <a:latin typeface="+mj-lt"/>
              </a:defRPr>
            </a:lvl1pPr>
          </a:lstStyle>
          <a:p>
            <a:pPr lvl="0"/>
            <a:r>
              <a:rPr lang="en-US"/>
              <a:t>Section 00</a:t>
            </a:r>
          </a:p>
        </p:txBody>
      </p:sp>
      <p:sp>
        <p:nvSpPr>
          <p:cNvPr id="4" name="Subtitle 2">
            <a:extLst>
              <a:ext uri="{FF2B5EF4-FFF2-40B4-BE49-F238E27FC236}">
                <a16:creationId xmlns:a16="http://schemas.microsoft.com/office/drawing/2014/main" id="{53781B12-EF4C-0172-7852-53CFAC014FED}"/>
              </a:ext>
            </a:extLst>
          </p:cNvPr>
          <p:cNvSpPr>
            <a:spLocks noGrp="1"/>
          </p:cNvSpPr>
          <p:nvPr>
            <p:ph type="subTitle" idx="1"/>
          </p:nvPr>
        </p:nvSpPr>
        <p:spPr>
          <a:xfrm>
            <a:off x="9077325" y="4179245"/>
            <a:ext cx="2619375" cy="961080"/>
          </a:xfrm>
        </p:spPr>
        <p:txBody>
          <a:bodyPr/>
          <a:lstStyle>
            <a:lvl1pPr marL="0" indent="0" algn="l">
              <a:buNone/>
              <a:defRPr sz="24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89922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gue Casia">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7E10EB5A-F6DE-9F4E-2117-2176E75AEACD}"/>
              </a:ext>
            </a:extLst>
          </p:cNvPr>
          <p:cNvSpPr/>
          <p:nvPr/>
        </p:nvSpPr>
        <p:spPr>
          <a:xfrm>
            <a:off x="0" y="0"/>
            <a:ext cx="8433622" cy="5854259"/>
          </a:xfrm>
          <a:custGeom>
            <a:avLst/>
            <a:gdLst>
              <a:gd name="connsiteX0" fmla="*/ 3920070 w 8433622"/>
              <a:gd name="connsiteY0" fmla="*/ 0 h 5854259"/>
              <a:gd name="connsiteX1" fmla="*/ 3921623 w 8433622"/>
              <a:gd name="connsiteY1" fmla="*/ 0 h 5854259"/>
              <a:gd name="connsiteX2" fmla="*/ 3942361 w 8433622"/>
              <a:gd name="connsiteY2" fmla="*/ 2150 h 5854259"/>
              <a:gd name="connsiteX3" fmla="*/ 5611946 w 8433622"/>
              <a:gd name="connsiteY3" fmla="*/ 2151 h 5854259"/>
              <a:gd name="connsiteX4" fmla="*/ 5611946 w 8433622"/>
              <a:gd name="connsiteY4" fmla="*/ 2154 h 5854259"/>
              <a:gd name="connsiteX5" fmla="*/ 6351359 w 8433622"/>
              <a:gd name="connsiteY5" fmla="*/ 2154 h 5854259"/>
              <a:gd name="connsiteX6" fmla="*/ 6351360 w 8433622"/>
              <a:gd name="connsiteY6" fmla="*/ 1330 h 5854259"/>
              <a:gd name="connsiteX7" fmla="*/ 6351361 w 8433622"/>
              <a:gd name="connsiteY7" fmla="*/ 173 h 5854259"/>
              <a:gd name="connsiteX8" fmla="*/ 7146741 w 8433622"/>
              <a:gd name="connsiteY8" fmla="*/ 0 h 5854259"/>
              <a:gd name="connsiteX9" fmla="*/ 7167509 w 8433622"/>
              <a:gd name="connsiteY9" fmla="*/ 2154 h 5854259"/>
              <a:gd name="connsiteX10" fmla="*/ 7197882 w 8433622"/>
              <a:gd name="connsiteY10" fmla="*/ 2154 h 5854259"/>
              <a:gd name="connsiteX11" fmla="*/ 7197881 w 8433622"/>
              <a:gd name="connsiteY11" fmla="*/ 5304 h 5854259"/>
              <a:gd name="connsiteX12" fmla="*/ 7255678 w 8433622"/>
              <a:gd name="connsiteY12" fmla="*/ 11299 h 5854259"/>
              <a:gd name="connsiteX13" fmla="*/ 7540283 w 8433622"/>
              <a:gd name="connsiteY13" fmla="*/ 164653 h 5854259"/>
              <a:gd name="connsiteX14" fmla="*/ 8264607 w 8433622"/>
              <a:gd name="connsiteY14" fmla="*/ 888978 h 5854259"/>
              <a:gd name="connsiteX15" fmla="*/ 8429260 w 8433622"/>
              <a:gd name="connsiteY15" fmla="*/ 1282519 h 5854259"/>
              <a:gd name="connsiteX16" fmla="*/ 8429232 w 8433622"/>
              <a:gd name="connsiteY16" fmla="*/ 1416839 h 5854259"/>
              <a:gd name="connsiteX17" fmla="*/ 8433622 w 8433622"/>
              <a:gd name="connsiteY17" fmla="*/ 1416840 h 5854259"/>
              <a:gd name="connsiteX18" fmla="*/ 8433622 w 8433622"/>
              <a:gd name="connsiteY18" fmla="*/ 5852108 h 5854259"/>
              <a:gd name="connsiteX19" fmla="*/ 7197882 w 8433622"/>
              <a:gd name="connsiteY19" fmla="*/ 5852108 h 5854259"/>
              <a:gd name="connsiteX20" fmla="*/ 7197881 w 8433622"/>
              <a:gd name="connsiteY20" fmla="*/ 5852111 h 5854259"/>
              <a:gd name="connsiteX21" fmla="*/ 5303429 w 8433622"/>
              <a:gd name="connsiteY21" fmla="*/ 5852110 h 5854259"/>
              <a:gd name="connsiteX22" fmla="*/ 5303428 w 8433622"/>
              <a:gd name="connsiteY22" fmla="*/ 5852929 h 5854259"/>
              <a:gd name="connsiteX23" fmla="*/ 5303427 w 8433622"/>
              <a:gd name="connsiteY23" fmla="*/ 5854086 h 5854259"/>
              <a:gd name="connsiteX24" fmla="*/ 4508047 w 8433622"/>
              <a:gd name="connsiteY24" fmla="*/ 5854259 h 5854259"/>
              <a:gd name="connsiteX25" fmla="*/ 4487306 w 8433622"/>
              <a:gd name="connsiteY25" fmla="*/ 5852108 h 5854259"/>
              <a:gd name="connsiteX26" fmla="*/ 3972763 w 8433622"/>
              <a:gd name="connsiteY26" fmla="*/ 5852108 h 5854259"/>
              <a:gd name="connsiteX27" fmla="*/ 3972763 w 8433622"/>
              <a:gd name="connsiteY27" fmla="*/ 5852110 h 5854259"/>
              <a:gd name="connsiteX28" fmla="*/ 2078312 w 8433622"/>
              <a:gd name="connsiteY28" fmla="*/ 5852111 h 5854259"/>
              <a:gd name="connsiteX29" fmla="*/ 2078310 w 8433622"/>
              <a:gd name="connsiteY29" fmla="*/ 5852929 h 5854259"/>
              <a:gd name="connsiteX30" fmla="*/ 2078308 w 8433622"/>
              <a:gd name="connsiteY30" fmla="*/ 5854086 h 5854259"/>
              <a:gd name="connsiteX31" fmla="*/ 1282928 w 8433622"/>
              <a:gd name="connsiteY31" fmla="*/ 5854259 h 5854259"/>
              <a:gd name="connsiteX32" fmla="*/ 889387 w 8433622"/>
              <a:gd name="connsiteY32" fmla="*/ 5689605 h 5854259"/>
              <a:gd name="connsiteX33" fmla="*/ 165062 w 8433622"/>
              <a:gd name="connsiteY33" fmla="*/ 4965281 h 5854259"/>
              <a:gd name="connsiteX34" fmla="*/ 408 w 8433622"/>
              <a:gd name="connsiteY34" fmla="*/ 4571739 h 5854259"/>
              <a:gd name="connsiteX35" fmla="*/ 438 w 8433622"/>
              <a:gd name="connsiteY35" fmla="*/ 4437419 h 5854259"/>
              <a:gd name="connsiteX36" fmla="*/ 0 w 8433622"/>
              <a:gd name="connsiteY36" fmla="*/ 4437419 h 5854259"/>
              <a:gd name="connsiteX37" fmla="*/ 0 w 8433622"/>
              <a:gd name="connsiteY37" fmla="*/ 2151 h 5854259"/>
              <a:gd name="connsiteX38" fmla="*/ 2386827 w 8433622"/>
              <a:gd name="connsiteY38" fmla="*/ 2151 h 5854259"/>
              <a:gd name="connsiteX39" fmla="*/ 2386827 w 8433622"/>
              <a:gd name="connsiteY39" fmla="*/ 2154 h 5854259"/>
              <a:gd name="connsiteX40" fmla="*/ 3126241 w 8433622"/>
              <a:gd name="connsiteY40" fmla="*/ 2154 h 5854259"/>
              <a:gd name="connsiteX41" fmla="*/ 3126241 w 8433622"/>
              <a:gd name="connsiteY41" fmla="*/ 1330 h 5854259"/>
              <a:gd name="connsiteX42" fmla="*/ 3126243 w 8433622"/>
              <a:gd name="connsiteY42" fmla="*/ 173 h 5854259"/>
              <a:gd name="connsiteX43" fmla="*/ 3920070 w 8433622"/>
              <a:gd name="connsiteY43"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433622" h="5854259">
                <a:moveTo>
                  <a:pt x="3920070" y="0"/>
                </a:moveTo>
                <a:cubicBezTo>
                  <a:pt x="3921623" y="0"/>
                  <a:pt x="3921623" y="0"/>
                  <a:pt x="3921623" y="0"/>
                </a:cubicBezTo>
                <a:lnTo>
                  <a:pt x="3942361" y="2150"/>
                </a:lnTo>
                <a:lnTo>
                  <a:pt x="5611946" y="2151"/>
                </a:lnTo>
                <a:lnTo>
                  <a:pt x="5611946" y="2154"/>
                </a:lnTo>
                <a:lnTo>
                  <a:pt x="6351359" y="2154"/>
                </a:lnTo>
                <a:lnTo>
                  <a:pt x="6351360" y="1330"/>
                </a:lnTo>
                <a:cubicBezTo>
                  <a:pt x="6351361" y="173"/>
                  <a:pt x="6351361" y="173"/>
                  <a:pt x="6351361" y="173"/>
                </a:cubicBezTo>
                <a:cubicBezTo>
                  <a:pt x="7146741" y="0"/>
                  <a:pt x="7146741" y="0"/>
                  <a:pt x="7146741" y="0"/>
                </a:cubicBezTo>
                <a:lnTo>
                  <a:pt x="7167509" y="2154"/>
                </a:lnTo>
                <a:lnTo>
                  <a:pt x="7197882" y="2154"/>
                </a:lnTo>
                <a:lnTo>
                  <a:pt x="7197881" y="5304"/>
                </a:lnTo>
                <a:lnTo>
                  <a:pt x="7255678" y="11299"/>
                </a:lnTo>
                <a:cubicBezTo>
                  <a:pt x="7362449" y="33070"/>
                  <a:pt x="7461371" y="85742"/>
                  <a:pt x="7540283" y="164653"/>
                </a:cubicBezTo>
                <a:cubicBezTo>
                  <a:pt x="8264607" y="888978"/>
                  <a:pt x="8264607" y="888978"/>
                  <a:pt x="8264607" y="888978"/>
                </a:cubicBezTo>
                <a:cubicBezTo>
                  <a:pt x="8368715" y="993086"/>
                  <a:pt x="8428389" y="1134982"/>
                  <a:pt x="8429260" y="1282519"/>
                </a:cubicBezTo>
                <a:lnTo>
                  <a:pt x="8429232" y="1416839"/>
                </a:lnTo>
                <a:lnTo>
                  <a:pt x="8433622" y="1416840"/>
                </a:lnTo>
                <a:lnTo>
                  <a:pt x="8433622" y="5852108"/>
                </a:lnTo>
                <a:lnTo>
                  <a:pt x="7197882" y="5852108"/>
                </a:lnTo>
                <a:lnTo>
                  <a:pt x="7197881" y="5852111"/>
                </a:lnTo>
                <a:lnTo>
                  <a:pt x="5303429" y="5852110"/>
                </a:lnTo>
                <a:lnTo>
                  <a:pt x="5303428" y="5852929"/>
                </a:lnTo>
                <a:cubicBezTo>
                  <a:pt x="5303427" y="5854086"/>
                  <a:pt x="5303427" y="5854086"/>
                  <a:pt x="5303427" y="5854086"/>
                </a:cubicBezTo>
                <a:cubicBezTo>
                  <a:pt x="4508047" y="5854259"/>
                  <a:pt x="4508047" y="5854259"/>
                  <a:pt x="4508047" y="5854259"/>
                </a:cubicBezTo>
                <a:lnTo>
                  <a:pt x="4487306"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rgbClr val="8E71F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3" name="Title 1">
            <a:extLst>
              <a:ext uri="{FF2B5EF4-FFF2-40B4-BE49-F238E27FC236}">
                <a16:creationId xmlns:a16="http://schemas.microsoft.com/office/drawing/2014/main" id="{6692DA30-7E49-60E7-C70F-22061A006E26}"/>
              </a:ext>
            </a:extLst>
          </p:cNvPr>
          <p:cNvSpPr>
            <a:spLocks noGrp="1"/>
          </p:cNvSpPr>
          <p:nvPr>
            <p:ph type="title"/>
          </p:nvPr>
        </p:nvSpPr>
        <p:spPr>
          <a:xfrm>
            <a:off x="1440315" y="1447799"/>
            <a:ext cx="6065385" cy="3167743"/>
          </a:xfrm>
        </p:spPr>
        <p:txBody>
          <a:bodyPr anchor="ctr">
            <a:noAutofit/>
          </a:bodyPr>
          <a:lstStyle>
            <a:lvl1pPr>
              <a:lnSpc>
                <a:spcPct val="84000"/>
              </a:lnSpc>
              <a:defRPr sz="7200">
                <a:solidFill>
                  <a:schemeClr val="bg1"/>
                </a:solidFill>
              </a:defRPr>
            </a:lvl1pPr>
          </a:lstStyle>
          <a:p>
            <a:r>
              <a:rPr lang="en-US"/>
              <a:t>Click to edit Master title style</a:t>
            </a:r>
          </a:p>
        </p:txBody>
      </p:sp>
      <p:sp>
        <p:nvSpPr>
          <p:cNvPr id="3" name="Text Placeholder 25">
            <a:extLst>
              <a:ext uri="{FF2B5EF4-FFF2-40B4-BE49-F238E27FC236}">
                <a16:creationId xmlns:a16="http://schemas.microsoft.com/office/drawing/2014/main" id="{F2287E4B-F93C-8279-53D0-512F9BC584F3}"/>
              </a:ext>
            </a:extLst>
          </p:cNvPr>
          <p:cNvSpPr>
            <a:spLocks noGrp="1"/>
          </p:cNvSpPr>
          <p:nvPr>
            <p:ph type="body" sz="quarter" idx="11" hasCustomPrompt="1"/>
          </p:nvPr>
        </p:nvSpPr>
        <p:spPr>
          <a:xfrm>
            <a:off x="9077325" y="3883114"/>
            <a:ext cx="2619376" cy="289711"/>
          </a:xfrm>
          <a:prstGeom prst="rect">
            <a:avLst/>
          </a:prstGeom>
        </p:spPr>
        <p:txBody>
          <a:bodyPr anchor="b"/>
          <a:lstStyle>
            <a:lvl1pPr marL="0" indent="0">
              <a:buNone/>
              <a:defRPr sz="2100">
                <a:solidFill>
                  <a:srgbClr val="8E71F4"/>
                </a:solidFill>
                <a:latin typeface="+mj-lt"/>
              </a:defRPr>
            </a:lvl1pPr>
          </a:lstStyle>
          <a:p>
            <a:pPr lvl="0"/>
            <a:r>
              <a:rPr lang="en-US"/>
              <a:t>Section 00</a:t>
            </a:r>
          </a:p>
        </p:txBody>
      </p:sp>
      <p:sp>
        <p:nvSpPr>
          <p:cNvPr id="4" name="Subtitle 2">
            <a:extLst>
              <a:ext uri="{FF2B5EF4-FFF2-40B4-BE49-F238E27FC236}">
                <a16:creationId xmlns:a16="http://schemas.microsoft.com/office/drawing/2014/main" id="{9BB1BAE8-29A8-75DB-FA7D-7C041D8A6046}"/>
              </a:ext>
            </a:extLst>
          </p:cNvPr>
          <p:cNvSpPr>
            <a:spLocks noGrp="1"/>
          </p:cNvSpPr>
          <p:nvPr>
            <p:ph type="subTitle" idx="1"/>
          </p:nvPr>
        </p:nvSpPr>
        <p:spPr>
          <a:xfrm>
            <a:off x="9077325" y="4179245"/>
            <a:ext cx="2619375" cy="961080"/>
          </a:xfrm>
        </p:spPr>
        <p:txBody>
          <a:bodyPr/>
          <a:lstStyle>
            <a:lvl1pPr marL="0" indent="0" algn="l">
              <a:buNone/>
              <a:defRPr sz="24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375125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gue Sol">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7E10EB5A-F6DE-9F4E-2117-2176E75AEACD}"/>
              </a:ext>
            </a:extLst>
          </p:cNvPr>
          <p:cNvSpPr/>
          <p:nvPr/>
        </p:nvSpPr>
        <p:spPr>
          <a:xfrm>
            <a:off x="0" y="0"/>
            <a:ext cx="8433622" cy="5854259"/>
          </a:xfrm>
          <a:custGeom>
            <a:avLst/>
            <a:gdLst>
              <a:gd name="connsiteX0" fmla="*/ 3920070 w 8433622"/>
              <a:gd name="connsiteY0" fmla="*/ 0 h 5854259"/>
              <a:gd name="connsiteX1" fmla="*/ 3921623 w 8433622"/>
              <a:gd name="connsiteY1" fmla="*/ 0 h 5854259"/>
              <a:gd name="connsiteX2" fmla="*/ 3942361 w 8433622"/>
              <a:gd name="connsiteY2" fmla="*/ 2150 h 5854259"/>
              <a:gd name="connsiteX3" fmla="*/ 5611946 w 8433622"/>
              <a:gd name="connsiteY3" fmla="*/ 2151 h 5854259"/>
              <a:gd name="connsiteX4" fmla="*/ 5611946 w 8433622"/>
              <a:gd name="connsiteY4" fmla="*/ 2154 h 5854259"/>
              <a:gd name="connsiteX5" fmla="*/ 6351359 w 8433622"/>
              <a:gd name="connsiteY5" fmla="*/ 2154 h 5854259"/>
              <a:gd name="connsiteX6" fmla="*/ 6351360 w 8433622"/>
              <a:gd name="connsiteY6" fmla="*/ 1330 h 5854259"/>
              <a:gd name="connsiteX7" fmla="*/ 6351361 w 8433622"/>
              <a:gd name="connsiteY7" fmla="*/ 173 h 5854259"/>
              <a:gd name="connsiteX8" fmla="*/ 7146741 w 8433622"/>
              <a:gd name="connsiteY8" fmla="*/ 0 h 5854259"/>
              <a:gd name="connsiteX9" fmla="*/ 7167509 w 8433622"/>
              <a:gd name="connsiteY9" fmla="*/ 2154 h 5854259"/>
              <a:gd name="connsiteX10" fmla="*/ 7197882 w 8433622"/>
              <a:gd name="connsiteY10" fmla="*/ 2154 h 5854259"/>
              <a:gd name="connsiteX11" fmla="*/ 7197881 w 8433622"/>
              <a:gd name="connsiteY11" fmla="*/ 5304 h 5854259"/>
              <a:gd name="connsiteX12" fmla="*/ 7255678 w 8433622"/>
              <a:gd name="connsiteY12" fmla="*/ 11299 h 5854259"/>
              <a:gd name="connsiteX13" fmla="*/ 7540283 w 8433622"/>
              <a:gd name="connsiteY13" fmla="*/ 164653 h 5854259"/>
              <a:gd name="connsiteX14" fmla="*/ 8264607 w 8433622"/>
              <a:gd name="connsiteY14" fmla="*/ 888978 h 5854259"/>
              <a:gd name="connsiteX15" fmla="*/ 8429260 w 8433622"/>
              <a:gd name="connsiteY15" fmla="*/ 1282519 h 5854259"/>
              <a:gd name="connsiteX16" fmla="*/ 8429232 w 8433622"/>
              <a:gd name="connsiteY16" fmla="*/ 1416839 h 5854259"/>
              <a:gd name="connsiteX17" fmla="*/ 8433622 w 8433622"/>
              <a:gd name="connsiteY17" fmla="*/ 1416840 h 5854259"/>
              <a:gd name="connsiteX18" fmla="*/ 8433622 w 8433622"/>
              <a:gd name="connsiteY18" fmla="*/ 5852108 h 5854259"/>
              <a:gd name="connsiteX19" fmla="*/ 7197882 w 8433622"/>
              <a:gd name="connsiteY19" fmla="*/ 5852108 h 5854259"/>
              <a:gd name="connsiteX20" fmla="*/ 7197881 w 8433622"/>
              <a:gd name="connsiteY20" fmla="*/ 5852111 h 5854259"/>
              <a:gd name="connsiteX21" fmla="*/ 5303429 w 8433622"/>
              <a:gd name="connsiteY21" fmla="*/ 5852110 h 5854259"/>
              <a:gd name="connsiteX22" fmla="*/ 5303428 w 8433622"/>
              <a:gd name="connsiteY22" fmla="*/ 5852929 h 5854259"/>
              <a:gd name="connsiteX23" fmla="*/ 5303427 w 8433622"/>
              <a:gd name="connsiteY23" fmla="*/ 5854086 h 5854259"/>
              <a:gd name="connsiteX24" fmla="*/ 4508047 w 8433622"/>
              <a:gd name="connsiteY24" fmla="*/ 5854259 h 5854259"/>
              <a:gd name="connsiteX25" fmla="*/ 4487306 w 8433622"/>
              <a:gd name="connsiteY25" fmla="*/ 5852108 h 5854259"/>
              <a:gd name="connsiteX26" fmla="*/ 3972763 w 8433622"/>
              <a:gd name="connsiteY26" fmla="*/ 5852108 h 5854259"/>
              <a:gd name="connsiteX27" fmla="*/ 3972763 w 8433622"/>
              <a:gd name="connsiteY27" fmla="*/ 5852110 h 5854259"/>
              <a:gd name="connsiteX28" fmla="*/ 2078312 w 8433622"/>
              <a:gd name="connsiteY28" fmla="*/ 5852111 h 5854259"/>
              <a:gd name="connsiteX29" fmla="*/ 2078310 w 8433622"/>
              <a:gd name="connsiteY29" fmla="*/ 5852929 h 5854259"/>
              <a:gd name="connsiteX30" fmla="*/ 2078308 w 8433622"/>
              <a:gd name="connsiteY30" fmla="*/ 5854086 h 5854259"/>
              <a:gd name="connsiteX31" fmla="*/ 1282928 w 8433622"/>
              <a:gd name="connsiteY31" fmla="*/ 5854259 h 5854259"/>
              <a:gd name="connsiteX32" fmla="*/ 889387 w 8433622"/>
              <a:gd name="connsiteY32" fmla="*/ 5689605 h 5854259"/>
              <a:gd name="connsiteX33" fmla="*/ 165062 w 8433622"/>
              <a:gd name="connsiteY33" fmla="*/ 4965281 h 5854259"/>
              <a:gd name="connsiteX34" fmla="*/ 408 w 8433622"/>
              <a:gd name="connsiteY34" fmla="*/ 4571739 h 5854259"/>
              <a:gd name="connsiteX35" fmla="*/ 438 w 8433622"/>
              <a:gd name="connsiteY35" fmla="*/ 4437419 h 5854259"/>
              <a:gd name="connsiteX36" fmla="*/ 0 w 8433622"/>
              <a:gd name="connsiteY36" fmla="*/ 4437419 h 5854259"/>
              <a:gd name="connsiteX37" fmla="*/ 0 w 8433622"/>
              <a:gd name="connsiteY37" fmla="*/ 2151 h 5854259"/>
              <a:gd name="connsiteX38" fmla="*/ 2386827 w 8433622"/>
              <a:gd name="connsiteY38" fmla="*/ 2151 h 5854259"/>
              <a:gd name="connsiteX39" fmla="*/ 2386827 w 8433622"/>
              <a:gd name="connsiteY39" fmla="*/ 2154 h 5854259"/>
              <a:gd name="connsiteX40" fmla="*/ 3126241 w 8433622"/>
              <a:gd name="connsiteY40" fmla="*/ 2154 h 5854259"/>
              <a:gd name="connsiteX41" fmla="*/ 3126241 w 8433622"/>
              <a:gd name="connsiteY41" fmla="*/ 1330 h 5854259"/>
              <a:gd name="connsiteX42" fmla="*/ 3126243 w 8433622"/>
              <a:gd name="connsiteY42" fmla="*/ 173 h 5854259"/>
              <a:gd name="connsiteX43" fmla="*/ 3920070 w 8433622"/>
              <a:gd name="connsiteY43"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433622" h="5854259">
                <a:moveTo>
                  <a:pt x="3920070" y="0"/>
                </a:moveTo>
                <a:cubicBezTo>
                  <a:pt x="3921623" y="0"/>
                  <a:pt x="3921623" y="0"/>
                  <a:pt x="3921623" y="0"/>
                </a:cubicBezTo>
                <a:lnTo>
                  <a:pt x="3942361" y="2150"/>
                </a:lnTo>
                <a:lnTo>
                  <a:pt x="5611946" y="2151"/>
                </a:lnTo>
                <a:lnTo>
                  <a:pt x="5611946" y="2154"/>
                </a:lnTo>
                <a:lnTo>
                  <a:pt x="6351359" y="2154"/>
                </a:lnTo>
                <a:lnTo>
                  <a:pt x="6351360" y="1330"/>
                </a:lnTo>
                <a:cubicBezTo>
                  <a:pt x="6351361" y="173"/>
                  <a:pt x="6351361" y="173"/>
                  <a:pt x="6351361" y="173"/>
                </a:cubicBezTo>
                <a:cubicBezTo>
                  <a:pt x="7146741" y="0"/>
                  <a:pt x="7146741" y="0"/>
                  <a:pt x="7146741" y="0"/>
                </a:cubicBezTo>
                <a:lnTo>
                  <a:pt x="7167509" y="2154"/>
                </a:lnTo>
                <a:lnTo>
                  <a:pt x="7197882" y="2154"/>
                </a:lnTo>
                <a:lnTo>
                  <a:pt x="7197881" y="5304"/>
                </a:lnTo>
                <a:lnTo>
                  <a:pt x="7255678" y="11299"/>
                </a:lnTo>
                <a:cubicBezTo>
                  <a:pt x="7362449" y="33070"/>
                  <a:pt x="7461371" y="85742"/>
                  <a:pt x="7540283" y="164653"/>
                </a:cubicBezTo>
                <a:cubicBezTo>
                  <a:pt x="8264607" y="888978"/>
                  <a:pt x="8264607" y="888978"/>
                  <a:pt x="8264607" y="888978"/>
                </a:cubicBezTo>
                <a:cubicBezTo>
                  <a:pt x="8368715" y="993086"/>
                  <a:pt x="8428389" y="1134982"/>
                  <a:pt x="8429260" y="1282519"/>
                </a:cubicBezTo>
                <a:lnTo>
                  <a:pt x="8429232" y="1416839"/>
                </a:lnTo>
                <a:lnTo>
                  <a:pt x="8433622" y="1416840"/>
                </a:lnTo>
                <a:lnTo>
                  <a:pt x="8433622" y="5852108"/>
                </a:lnTo>
                <a:lnTo>
                  <a:pt x="7197882" y="5852108"/>
                </a:lnTo>
                <a:lnTo>
                  <a:pt x="7197881" y="5852111"/>
                </a:lnTo>
                <a:lnTo>
                  <a:pt x="5303429" y="5852110"/>
                </a:lnTo>
                <a:lnTo>
                  <a:pt x="5303428" y="5852929"/>
                </a:lnTo>
                <a:cubicBezTo>
                  <a:pt x="5303427" y="5854086"/>
                  <a:pt x="5303427" y="5854086"/>
                  <a:pt x="5303427" y="5854086"/>
                </a:cubicBezTo>
                <a:cubicBezTo>
                  <a:pt x="4508047" y="5854259"/>
                  <a:pt x="4508047" y="5854259"/>
                  <a:pt x="4508047" y="5854259"/>
                </a:cubicBezTo>
                <a:lnTo>
                  <a:pt x="4487306"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3" name="Title 1">
            <a:extLst>
              <a:ext uri="{FF2B5EF4-FFF2-40B4-BE49-F238E27FC236}">
                <a16:creationId xmlns:a16="http://schemas.microsoft.com/office/drawing/2014/main" id="{6692DA30-7E49-60E7-C70F-22061A006E26}"/>
              </a:ext>
            </a:extLst>
          </p:cNvPr>
          <p:cNvSpPr>
            <a:spLocks noGrp="1"/>
          </p:cNvSpPr>
          <p:nvPr>
            <p:ph type="title"/>
          </p:nvPr>
        </p:nvSpPr>
        <p:spPr>
          <a:xfrm>
            <a:off x="1440315" y="1447799"/>
            <a:ext cx="6065385" cy="3167743"/>
          </a:xfrm>
        </p:spPr>
        <p:txBody>
          <a:bodyPr anchor="ctr">
            <a:noAutofit/>
          </a:bodyPr>
          <a:lstStyle>
            <a:lvl1pPr>
              <a:lnSpc>
                <a:spcPct val="84000"/>
              </a:lnSpc>
              <a:defRPr sz="7200">
                <a:solidFill>
                  <a:schemeClr val="accent1"/>
                </a:solidFill>
              </a:defRPr>
            </a:lvl1pPr>
          </a:lstStyle>
          <a:p>
            <a:r>
              <a:rPr lang="en-US"/>
              <a:t>Click to edit Master title style</a:t>
            </a:r>
          </a:p>
        </p:txBody>
      </p:sp>
      <p:sp>
        <p:nvSpPr>
          <p:cNvPr id="2" name="Text Placeholder 25">
            <a:extLst>
              <a:ext uri="{FF2B5EF4-FFF2-40B4-BE49-F238E27FC236}">
                <a16:creationId xmlns:a16="http://schemas.microsoft.com/office/drawing/2014/main" id="{13FC7D27-6AA1-E476-9F7B-96F489C7537C}"/>
              </a:ext>
            </a:extLst>
          </p:cNvPr>
          <p:cNvSpPr>
            <a:spLocks noGrp="1"/>
          </p:cNvSpPr>
          <p:nvPr>
            <p:ph type="body" sz="quarter" idx="11" hasCustomPrompt="1"/>
          </p:nvPr>
        </p:nvSpPr>
        <p:spPr>
          <a:xfrm>
            <a:off x="9077325" y="3883114"/>
            <a:ext cx="2619376" cy="289711"/>
          </a:xfrm>
          <a:prstGeom prst="rect">
            <a:avLst/>
          </a:prstGeom>
        </p:spPr>
        <p:txBody>
          <a:bodyPr anchor="b"/>
          <a:lstStyle>
            <a:lvl1pPr marL="0" indent="0">
              <a:buNone/>
              <a:defRPr sz="2100">
                <a:solidFill>
                  <a:schemeClr val="accent5"/>
                </a:solidFill>
                <a:latin typeface="+mj-lt"/>
              </a:defRPr>
            </a:lvl1pPr>
          </a:lstStyle>
          <a:p>
            <a:pPr lvl="0"/>
            <a:r>
              <a:rPr lang="en-US"/>
              <a:t>Section 00</a:t>
            </a:r>
          </a:p>
        </p:txBody>
      </p:sp>
      <p:sp>
        <p:nvSpPr>
          <p:cNvPr id="3" name="Subtitle 2">
            <a:extLst>
              <a:ext uri="{FF2B5EF4-FFF2-40B4-BE49-F238E27FC236}">
                <a16:creationId xmlns:a16="http://schemas.microsoft.com/office/drawing/2014/main" id="{D84B05D3-3EB2-0600-A4B2-7D1D82E0A30B}"/>
              </a:ext>
            </a:extLst>
          </p:cNvPr>
          <p:cNvSpPr>
            <a:spLocks noGrp="1"/>
          </p:cNvSpPr>
          <p:nvPr>
            <p:ph type="subTitle" idx="1"/>
          </p:nvPr>
        </p:nvSpPr>
        <p:spPr>
          <a:xfrm>
            <a:off x="9077325" y="4179245"/>
            <a:ext cx="2619375" cy="961080"/>
          </a:xfrm>
        </p:spPr>
        <p:txBody>
          <a:bodyPr/>
          <a:lstStyle>
            <a:lvl1pPr marL="0" indent="0" algn="l">
              <a:buNone/>
              <a:defRPr sz="24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633648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gue Electric Azure">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7E10EB5A-F6DE-9F4E-2117-2176E75AEACD}"/>
              </a:ext>
            </a:extLst>
          </p:cNvPr>
          <p:cNvSpPr/>
          <p:nvPr/>
        </p:nvSpPr>
        <p:spPr>
          <a:xfrm>
            <a:off x="0" y="0"/>
            <a:ext cx="8433622" cy="5854259"/>
          </a:xfrm>
          <a:custGeom>
            <a:avLst/>
            <a:gdLst>
              <a:gd name="connsiteX0" fmla="*/ 3920070 w 8433622"/>
              <a:gd name="connsiteY0" fmla="*/ 0 h 5854259"/>
              <a:gd name="connsiteX1" fmla="*/ 3921623 w 8433622"/>
              <a:gd name="connsiteY1" fmla="*/ 0 h 5854259"/>
              <a:gd name="connsiteX2" fmla="*/ 3942361 w 8433622"/>
              <a:gd name="connsiteY2" fmla="*/ 2150 h 5854259"/>
              <a:gd name="connsiteX3" fmla="*/ 5611946 w 8433622"/>
              <a:gd name="connsiteY3" fmla="*/ 2151 h 5854259"/>
              <a:gd name="connsiteX4" fmla="*/ 5611946 w 8433622"/>
              <a:gd name="connsiteY4" fmla="*/ 2154 h 5854259"/>
              <a:gd name="connsiteX5" fmla="*/ 6351359 w 8433622"/>
              <a:gd name="connsiteY5" fmla="*/ 2154 h 5854259"/>
              <a:gd name="connsiteX6" fmla="*/ 6351360 w 8433622"/>
              <a:gd name="connsiteY6" fmla="*/ 1330 h 5854259"/>
              <a:gd name="connsiteX7" fmla="*/ 6351361 w 8433622"/>
              <a:gd name="connsiteY7" fmla="*/ 173 h 5854259"/>
              <a:gd name="connsiteX8" fmla="*/ 7146741 w 8433622"/>
              <a:gd name="connsiteY8" fmla="*/ 0 h 5854259"/>
              <a:gd name="connsiteX9" fmla="*/ 7167509 w 8433622"/>
              <a:gd name="connsiteY9" fmla="*/ 2154 h 5854259"/>
              <a:gd name="connsiteX10" fmla="*/ 7197882 w 8433622"/>
              <a:gd name="connsiteY10" fmla="*/ 2154 h 5854259"/>
              <a:gd name="connsiteX11" fmla="*/ 7197881 w 8433622"/>
              <a:gd name="connsiteY11" fmla="*/ 5304 h 5854259"/>
              <a:gd name="connsiteX12" fmla="*/ 7255678 w 8433622"/>
              <a:gd name="connsiteY12" fmla="*/ 11299 h 5854259"/>
              <a:gd name="connsiteX13" fmla="*/ 7540283 w 8433622"/>
              <a:gd name="connsiteY13" fmla="*/ 164653 h 5854259"/>
              <a:gd name="connsiteX14" fmla="*/ 8264607 w 8433622"/>
              <a:gd name="connsiteY14" fmla="*/ 888978 h 5854259"/>
              <a:gd name="connsiteX15" fmla="*/ 8429260 w 8433622"/>
              <a:gd name="connsiteY15" fmla="*/ 1282519 h 5854259"/>
              <a:gd name="connsiteX16" fmla="*/ 8429232 w 8433622"/>
              <a:gd name="connsiteY16" fmla="*/ 1416839 h 5854259"/>
              <a:gd name="connsiteX17" fmla="*/ 8433622 w 8433622"/>
              <a:gd name="connsiteY17" fmla="*/ 1416840 h 5854259"/>
              <a:gd name="connsiteX18" fmla="*/ 8433622 w 8433622"/>
              <a:gd name="connsiteY18" fmla="*/ 5852108 h 5854259"/>
              <a:gd name="connsiteX19" fmla="*/ 7197882 w 8433622"/>
              <a:gd name="connsiteY19" fmla="*/ 5852108 h 5854259"/>
              <a:gd name="connsiteX20" fmla="*/ 7197881 w 8433622"/>
              <a:gd name="connsiteY20" fmla="*/ 5852111 h 5854259"/>
              <a:gd name="connsiteX21" fmla="*/ 5303429 w 8433622"/>
              <a:gd name="connsiteY21" fmla="*/ 5852110 h 5854259"/>
              <a:gd name="connsiteX22" fmla="*/ 5303428 w 8433622"/>
              <a:gd name="connsiteY22" fmla="*/ 5852929 h 5854259"/>
              <a:gd name="connsiteX23" fmla="*/ 5303427 w 8433622"/>
              <a:gd name="connsiteY23" fmla="*/ 5854086 h 5854259"/>
              <a:gd name="connsiteX24" fmla="*/ 4508047 w 8433622"/>
              <a:gd name="connsiteY24" fmla="*/ 5854259 h 5854259"/>
              <a:gd name="connsiteX25" fmla="*/ 4487306 w 8433622"/>
              <a:gd name="connsiteY25" fmla="*/ 5852108 h 5854259"/>
              <a:gd name="connsiteX26" fmla="*/ 3972763 w 8433622"/>
              <a:gd name="connsiteY26" fmla="*/ 5852108 h 5854259"/>
              <a:gd name="connsiteX27" fmla="*/ 3972763 w 8433622"/>
              <a:gd name="connsiteY27" fmla="*/ 5852110 h 5854259"/>
              <a:gd name="connsiteX28" fmla="*/ 2078312 w 8433622"/>
              <a:gd name="connsiteY28" fmla="*/ 5852111 h 5854259"/>
              <a:gd name="connsiteX29" fmla="*/ 2078310 w 8433622"/>
              <a:gd name="connsiteY29" fmla="*/ 5852929 h 5854259"/>
              <a:gd name="connsiteX30" fmla="*/ 2078308 w 8433622"/>
              <a:gd name="connsiteY30" fmla="*/ 5854086 h 5854259"/>
              <a:gd name="connsiteX31" fmla="*/ 1282928 w 8433622"/>
              <a:gd name="connsiteY31" fmla="*/ 5854259 h 5854259"/>
              <a:gd name="connsiteX32" fmla="*/ 889387 w 8433622"/>
              <a:gd name="connsiteY32" fmla="*/ 5689605 h 5854259"/>
              <a:gd name="connsiteX33" fmla="*/ 165062 w 8433622"/>
              <a:gd name="connsiteY33" fmla="*/ 4965281 h 5854259"/>
              <a:gd name="connsiteX34" fmla="*/ 408 w 8433622"/>
              <a:gd name="connsiteY34" fmla="*/ 4571739 h 5854259"/>
              <a:gd name="connsiteX35" fmla="*/ 438 w 8433622"/>
              <a:gd name="connsiteY35" fmla="*/ 4437419 h 5854259"/>
              <a:gd name="connsiteX36" fmla="*/ 0 w 8433622"/>
              <a:gd name="connsiteY36" fmla="*/ 4437419 h 5854259"/>
              <a:gd name="connsiteX37" fmla="*/ 0 w 8433622"/>
              <a:gd name="connsiteY37" fmla="*/ 2151 h 5854259"/>
              <a:gd name="connsiteX38" fmla="*/ 2386827 w 8433622"/>
              <a:gd name="connsiteY38" fmla="*/ 2151 h 5854259"/>
              <a:gd name="connsiteX39" fmla="*/ 2386827 w 8433622"/>
              <a:gd name="connsiteY39" fmla="*/ 2154 h 5854259"/>
              <a:gd name="connsiteX40" fmla="*/ 3126241 w 8433622"/>
              <a:gd name="connsiteY40" fmla="*/ 2154 h 5854259"/>
              <a:gd name="connsiteX41" fmla="*/ 3126241 w 8433622"/>
              <a:gd name="connsiteY41" fmla="*/ 1330 h 5854259"/>
              <a:gd name="connsiteX42" fmla="*/ 3126243 w 8433622"/>
              <a:gd name="connsiteY42" fmla="*/ 173 h 5854259"/>
              <a:gd name="connsiteX43" fmla="*/ 3920070 w 8433622"/>
              <a:gd name="connsiteY43"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433622" h="5854259">
                <a:moveTo>
                  <a:pt x="3920070" y="0"/>
                </a:moveTo>
                <a:cubicBezTo>
                  <a:pt x="3921623" y="0"/>
                  <a:pt x="3921623" y="0"/>
                  <a:pt x="3921623" y="0"/>
                </a:cubicBezTo>
                <a:lnTo>
                  <a:pt x="3942361" y="2150"/>
                </a:lnTo>
                <a:lnTo>
                  <a:pt x="5611946" y="2151"/>
                </a:lnTo>
                <a:lnTo>
                  <a:pt x="5611946" y="2154"/>
                </a:lnTo>
                <a:lnTo>
                  <a:pt x="6351359" y="2154"/>
                </a:lnTo>
                <a:lnTo>
                  <a:pt x="6351360" y="1330"/>
                </a:lnTo>
                <a:cubicBezTo>
                  <a:pt x="6351361" y="173"/>
                  <a:pt x="6351361" y="173"/>
                  <a:pt x="6351361" y="173"/>
                </a:cubicBezTo>
                <a:cubicBezTo>
                  <a:pt x="7146741" y="0"/>
                  <a:pt x="7146741" y="0"/>
                  <a:pt x="7146741" y="0"/>
                </a:cubicBezTo>
                <a:lnTo>
                  <a:pt x="7167509" y="2154"/>
                </a:lnTo>
                <a:lnTo>
                  <a:pt x="7197882" y="2154"/>
                </a:lnTo>
                <a:lnTo>
                  <a:pt x="7197881" y="5304"/>
                </a:lnTo>
                <a:lnTo>
                  <a:pt x="7255678" y="11299"/>
                </a:lnTo>
                <a:cubicBezTo>
                  <a:pt x="7362449" y="33070"/>
                  <a:pt x="7461371" y="85742"/>
                  <a:pt x="7540283" y="164653"/>
                </a:cubicBezTo>
                <a:cubicBezTo>
                  <a:pt x="8264607" y="888978"/>
                  <a:pt x="8264607" y="888978"/>
                  <a:pt x="8264607" y="888978"/>
                </a:cubicBezTo>
                <a:cubicBezTo>
                  <a:pt x="8368715" y="993086"/>
                  <a:pt x="8428389" y="1134982"/>
                  <a:pt x="8429260" y="1282519"/>
                </a:cubicBezTo>
                <a:lnTo>
                  <a:pt x="8429232" y="1416839"/>
                </a:lnTo>
                <a:lnTo>
                  <a:pt x="8433622" y="1416840"/>
                </a:lnTo>
                <a:lnTo>
                  <a:pt x="8433622" y="5852108"/>
                </a:lnTo>
                <a:lnTo>
                  <a:pt x="7197882" y="5852108"/>
                </a:lnTo>
                <a:lnTo>
                  <a:pt x="7197881" y="5852111"/>
                </a:lnTo>
                <a:lnTo>
                  <a:pt x="5303429" y="5852110"/>
                </a:lnTo>
                <a:lnTo>
                  <a:pt x="5303428" y="5852929"/>
                </a:lnTo>
                <a:cubicBezTo>
                  <a:pt x="5303427" y="5854086"/>
                  <a:pt x="5303427" y="5854086"/>
                  <a:pt x="5303427" y="5854086"/>
                </a:cubicBezTo>
                <a:cubicBezTo>
                  <a:pt x="4508047" y="5854259"/>
                  <a:pt x="4508047" y="5854259"/>
                  <a:pt x="4508047" y="5854259"/>
                </a:cubicBezTo>
                <a:lnTo>
                  <a:pt x="4487306"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3" name="Title 1">
            <a:extLst>
              <a:ext uri="{FF2B5EF4-FFF2-40B4-BE49-F238E27FC236}">
                <a16:creationId xmlns:a16="http://schemas.microsoft.com/office/drawing/2014/main" id="{6692DA30-7E49-60E7-C70F-22061A006E26}"/>
              </a:ext>
            </a:extLst>
          </p:cNvPr>
          <p:cNvSpPr>
            <a:spLocks noGrp="1"/>
          </p:cNvSpPr>
          <p:nvPr>
            <p:ph type="title"/>
          </p:nvPr>
        </p:nvSpPr>
        <p:spPr>
          <a:xfrm>
            <a:off x="1440315" y="1447799"/>
            <a:ext cx="6065385" cy="3167743"/>
          </a:xfrm>
        </p:spPr>
        <p:txBody>
          <a:bodyPr anchor="ctr">
            <a:noAutofit/>
          </a:bodyPr>
          <a:lstStyle>
            <a:lvl1pPr>
              <a:lnSpc>
                <a:spcPct val="84000"/>
              </a:lnSpc>
              <a:defRPr sz="7200">
                <a:solidFill>
                  <a:schemeClr val="bg1"/>
                </a:solidFill>
              </a:defRPr>
            </a:lvl1pPr>
          </a:lstStyle>
          <a:p>
            <a:r>
              <a:rPr lang="en-US"/>
              <a:t>Click to edit Master title style</a:t>
            </a:r>
          </a:p>
        </p:txBody>
      </p:sp>
      <p:sp>
        <p:nvSpPr>
          <p:cNvPr id="2" name="Text Placeholder 25">
            <a:extLst>
              <a:ext uri="{FF2B5EF4-FFF2-40B4-BE49-F238E27FC236}">
                <a16:creationId xmlns:a16="http://schemas.microsoft.com/office/drawing/2014/main" id="{1F743C81-C521-0195-D9E9-D20B49FE8CF5}"/>
              </a:ext>
            </a:extLst>
          </p:cNvPr>
          <p:cNvSpPr>
            <a:spLocks noGrp="1"/>
          </p:cNvSpPr>
          <p:nvPr>
            <p:ph type="body" sz="quarter" idx="11" hasCustomPrompt="1"/>
          </p:nvPr>
        </p:nvSpPr>
        <p:spPr>
          <a:xfrm>
            <a:off x="9077325" y="3883114"/>
            <a:ext cx="2619376" cy="289711"/>
          </a:xfrm>
          <a:prstGeom prst="rect">
            <a:avLst/>
          </a:prstGeom>
        </p:spPr>
        <p:txBody>
          <a:bodyPr anchor="b"/>
          <a:lstStyle>
            <a:lvl1pPr marL="0" indent="0">
              <a:buNone/>
              <a:defRPr sz="2100">
                <a:solidFill>
                  <a:srgbClr val="3700FF"/>
                </a:solidFill>
                <a:latin typeface="+mj-lt"/>
              </a:defRPr>
            </a:lvl1pPr>
          </a:lstStyle>
          <a:p>
            <a:pPr lvl="0"/>
            <a:r>
              <a:rPr lang="en-US"/>
              <a:t>Section 00</a:t>
            </a:r>
          </a:p>
        </p:txBody>
      </p:sp>
      <p:sp>
        <p:nvSpPr>
          <p:cNvPr id="4" name="Subtitle 2">
            <a:extLst>
              <a:ext uri="{FF2B5EF4-FFF2-40B4-BE49-F238E27FC236}">
                <a16:creationId xmlns:a16="http://schemas.microsoft.com/office/drawing/2014/main" id="{AB651381-8245-2111-67DE-8F8507F800E2}"/>
              </a:ext>
            </a:extLst>
          </p:cNvPr>
          <p:cNvSpPr>
            <a:spLocks noGrp="1"/>
          </p:cNvSpPr>
          <p:nvPr>
            <p:ph type="subTitle" idx="1"/>
          </p:nvPr>
        </p:nvSpPr>
        <p:spPr>
          <a:xfrm>
            <a:off x="9077325" y="4179245"/>
            <a:ext cx="2619375" cy="961080"/>
          </a:xfrm>
        </p:spPr>
        <p:txBody>
          <a:bodyPr/>
          <a:lstStyle>
            <a:lvl1pPr marL="0" indent="0" algn="l">
              <a:buNone/>
              <a:defRPr sz="24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336074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Dark">
    <p:bg>
      <p:bgPr>
        <a:solidFill>
          <a:schemeClr val="accent1"/>
        </a:solidFill>
        <a:effectLst/>
      </p:bgPr>
    </p:bg>
    <p:spTree>
      <p:nvGrpSpPr>
        <p:cNvPr id="1" name=""/>
        <p:cNvGrpSpPr/>
        <p:nvPr/>
      </p:nvGrpSpPr>
      <p:grpSpPr>
        <a:xfrm>
          <a:off x="0" y="0"/>
          <a:ext cx="0" cy="0"/>
          <a:chOff x="0" y="0"/>
          <a:chExt cx="0" cy="0"/>
        </a:xfrm>
      </p:grpSpPr>
      <p:sp>
        <p:nvSpPr>
          <p:cNvPr id="17" name="object 2">
            <a:extLst>
              <a:ext uri="{FF2B5EF4-FFF2-40B4-BE49-F238E27FC236}">
                <a16:creationId xmlns:a16="http://schemas.microsoft.com/office/drawing/2014/main" id="{4A211CA5-C27F-60B2-E2EB-B454A969D4D6}"/>
              </a:ext>
            </a:extLst>
          </p:cNvPr>
          <p:cNvSpPr/>
          <p:nvPr userDrawn="1"/>
        </p:nvSpPr>
        <p:spPr>
          <a:xfrm>
            <a:off x="542689" y="2076112"/>
            <a:ext cx="543873" cy="543873"/>
          </a:xfrm>
          <a:custGeom>
            <a:avLst/>
            <a:gdLst/>
            <a:ahLst/>
            <a:cxnLst/>
            <a:rect l="l" t="t" r="r" b="b"/>
            <a:pathLst>
              <a:path w="828675" h="828675">
                <a:moveTo>
                  <a:pt x="828121" y="0"/>
                </a:moveTo>
                <a:lnTo>
                  <a:pt x="511712" y="565"/>
                </a:lnTo>
                <a:lnTo>
                  <a:pt x="468206" y="4936"/>
                </a:lnTo>
                <a:lnTo>
                  <a:pt x="426776" y="17574"/>
                </a:lnTo>
                <a:lnTo>
                  <a:pt x="388579" y="37999"/>
                </a:lnTo>
                <a:lnTo>
                  <a:pt x="354774" y="65736"/>
                </a:lnTo>
                <a:lnTo>
                  <a:pt x="65736" y="354774"/>
                </a:lnTo>
                <a:lnTo>
                  <a:pt x="38004" y="388579"/>
                </a:lnTo>
                <a:lnTo>
                  <a:pt x="17577" y="426774"/>
                </a:lnTo>
                <a:lnTo>
                  <a:pt x="4938" y="468201"/>
                </a:lnTo>
                <a:lnTo>
                  <a:pt x="565" y="511701"/>
                </a:lnTo>
                <a:lnTo>
                  <a:pt x="0" y="828110"/>
                </a:lnTo>
                <a:lnTo>
                  <a:pt x="235553" y="828110"/>
                </a:lnTo>
                <a:lnTo>
                  <a:pt x="236087" y="280776"/>
                </a:lnTo>
                <a:lnTo>
                  <a:pt x="239616" y="263356"/>
                </a:lnTo>
                <a:lnTo>
                  <a:pt x="249213" y="249132"/>
                </a:lnTo>
                <a:lnTo>
                  <a:pt x="263438" y="239540"/>
                </a:lnTo>
                <a:lnTo>
                  <a:pt x="280850" y="236013"/>
                </a:lnTo>
                <a:lnTo>
                  <a:pt x="828121" y="235553"/>
                </a:lnTo>
                <a:lnTo>
                  <a:pt x="828121" y="0"/>
                </a:lnTo>
                <a:close/>
              </a:path>
            </a:pathLst>
          </a:custGeom>
          <a:gradFill flip="none" rotWithShape="1">
            <a:gsLst>
              <a:gs pos="0">
                <a:srgbClr val="00824A"/>
              </a:gs>
              <a:gs pos="95413">
                <a:srgbClr val="96FFA1"/>
              </a:gs>
              <a:gs pos="32000">
                <a:srgbClr val="00D05D"/>
              </a:gs>
            </a:gsLst>
            <a:lin ang="8400000" scaled="0"/>
            <a:tileRect/>
          </a:gra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F5860"/>
              </a:solidFill>
              <a:effectLst/>
              <a:uLnTx/>
              <a:uFillTx/>
            </a:endParaRPr>
          </a:p>
        </p:txBody>
      </p:sp>
      <p:sp>
        <p:nvSpPr>
          <p:cNvPr id="3" name="Title 1">
            <a:extLst>
              <a:ext uri="{FF2B5EF4-FFF2-40B4-BE49-F238E27FC236}">
                <a16:creationId xmlns:a16="http://schemas.microsoft.com/office/drawing/2014/main" id="{8FA97876-9FDD-C61E-2D58-76D5D2209DCE}"/>
              </a:ext>
            </a:extLst>
          </p:cNvPr>
          <p:cNvSpPr>
            <a:spLocks noGrp="1"/>
          </p:cNvSpPr>
          <p:nvPr>
            <p:ph type="title" hasCustomPrompt="1"/>
          </p:nvPr>
        </p:nvSpPr>
        <p:spPr>
          <a:xfrm>
            <a:off x="849312" y="2467915"/>
            <a:ext cx="4430065" cy="1232645"/>
          </a:xfrm>
        </p:spPr>
        <p:txBody>
          <a:bodyPr wrap="square" anchor="t">
            <a:noAutofit/>
          </a:bodyPr>
          <a:lstStyle>
            <a:lvl1pPr algn="l">
              <a:defRPr sz="8900" spc="-300">
                <a:solidFill>
                  <a:schemeClr val="bg1"/>
                </a:solidFill>
                <a:latin typeface="+mj-lt"/>
              </a:defRPr>
            </a:lvl1pPr>
          </a:lstStyle>
          <a:p>
            <a:r>
              <a:rPr lang="en-US"/>
              <a:t>Agenda</a:t>
            </a:r>
          </a:p>
        </p:txBody>
      </p:sp>
      <p:sp>
        <p:nvSpPr>
          <p:cNvPr id="5" name="Text Placeholder 8">
            <a:extLst>
              <a:ext uri="{FF2B5EF4-FFF2-40B4-BE49-F238E27FC236}">
                <a16:creationId xmlns:a16="http://schemas.microsoft.com/office/drawing/2014/main" id="{B84EE3B4-CEA4-6EAB-01BA-27979A109331}"/>
              </a:ext>
            </a:extLst>
          </p:cNvPr>
          <p:cNvSpPr>
            <a:spLocks noGrp="1"/>
          </p:cNvSpPr>
          <p:nvPr>
            <p:ph type="body" sz="quarter" idx="13" hasCustomPrompt="1"/>
          </p:nvPr>
        </p:nvSpPr>
        <p:spPr>
          <a:xfrm>
            <a:off x="6572251" y="696686"/>
            <a:ext cx="5121312" cy="5464628"/>
          </a:xfrm>
          <a:prstGeom prst="rect">
            <a:avLst/>
          </a:prstGeom>
        </p:spPr>
        <p:txBody>
          <a:bodyPr anchor="ctr">
            <a:noAutofit/>
          </a:bodyPr>
          <a:lstStyle>
            <a:lvl1pPr marL="0" indent="0">
              <a:lnSpc>
                <a:spcPct val="87000"/>
              </a:lnSpc>
              <a:spcBef>
                <a:spcPts val="900"/>
              </a:spcBef>
              <a:spcAft>
                <a:spcPts val="900"/>
              </a:spcAft>
              <a:buClr>
                <a:srgbClr val="8E71F4"/>
              </a:buClr>
              <a:buFont typeface="ES Build Neutral" pitchFamily="50" charset="0"/>
              <a:buChar char="​"/>
              <a:defRPr sz="3400">
                <a:solidFill>
                  <a:schemeClr val="tx1"/>
                </a:solidFill>
              </a:defRPr>
            </a:lvl1pPr>
            <a:lvl2pPr marL="7938" indent="-7938">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vl6pPr marL="27432" indent="0">
              <a:lnSpc>
                <a:spcPct val="67000"/>
              </a:lnSpc>
              <a:spcBef>
                <a:spcPts val="600"/>
              </a:spcBef>
              <a:spcAft>
                <a:spcPts val="0"/>
              </a:spcAft>
              <a:buFont typeface="ES Build Neutral" pitchFamily="50" charset="0"/>
              <a:buChar char="​"/>
              <a:tabLst/>
              <a:defRPr sz="1200" b="0">
                <a:solidFill>
                  <a:schemeClr val="bg1"/>
                </a:solidFill>
              </a:defRPr>
            </a:lvl6pPr>
            <a:lvl7pPr marL="0" indent="0">
              <a:spcBef>
                <a:spcPts val="1500"/>
              </a:spcBef>
              <a:spcAft>
                <a:spcPts val="0"/>
              </a:spcAft>
              <a:defRPr sz="4400" spc="0" baseline="0">
                <a:solidFill>
                  <a:schemeClr val="bg1"/>
                </a:solidFill>
              </a:defRPr>
            </a:lvl7pPr>
            <a:lvl8pPr marL="27432">
              <a:spcBef>
                <a:spcPts val="0"/>
              </a:spcBef>
              <a:defRPr sz="1600" spc="0">
                <a:solidFill>
                  <a:srgbClr val="8E71F4"/>
                </a:solidFill>
                <a:latin typeface="+mn-lt"/>
              </a:defRPr>
            </a:lvl8pPr>
            <a:lvl9pPr>
              <a:defRPr>
                <a:solidFill>
                  <a:schemeClr val="bg1"/>
                </a:solidFill>
              </a:defRPr>
            </a:lvl9pPr>
          </a:lstStyle>
          <a:p>
            <a:pPr lvl="6"/>
            <a:r>
              <a:rPr lang="en-US"/>
              <a:t>Edit text</a:t>
            </a:r>
          </a:p>
          <a:p>
            <a:pPr lvl="7"/>
            <a:r>
              <a:rPr lang="en-US"/>
              <a:t>Edit text</a:t>
            </a:r>
          </a:p>
          <a:p>
            <a:pPr lvl="5"/>
            <a:r>
              <a:rPr lang="en-US"/>
              <a:t>Edit text</a:t>
            </a:r>
          </a:p>
        </p:txBody>
      </p:sp>
      <p:sp>
        <p:nvSpPr>
          <p:cNvPr id="12" name="TextBox 11">
            <a:extLst>
              <a:ext uri="{FF2B5EF4-FFF2-40B4-BE49-F238E27FC236}">
                <a16:creationId xmlns:a16="http://schemas.microsoft.com/office/drawing/2014/main" id="{602FEA95-2100-AF9F-EDA7-2E53B1300B0B}"/>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pic>
        <p:nvPicPr>
          <p:cNvPr id="13" name="Graphic 12">
            <a:extLst>
              <a:ext uri="{FF2B5EF4-FFF2-40B4-BE49-F238E27FC236}">
                <a16:creationId xmlns:a16="http://schemas.microsoft.com/office/drawing/2014/main" id="{2BF3C092-C004-F74B-E852-7CD8E875E55A}"/>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3728574474"/>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gue Suma">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7E10EB5A-F6DE-9F4E-2117-2176E75AEACD}"/>
              </a:ext>
            </a:extLst>
          </p:cNvPr>
          <p:cNvSpPr/>
          <p:nvPr/>
        </p:nvSpPr>
        <p:spPr>
          <a:xfrm>
            <a:off x="0" y="0"/>
            <a:ext cx="8433622" cy="5854259"/>
          </a:xfrm>
          <a:custGeom>
            <a:avLst/>
            <a:gdLst>
              <a:gd name="connsiteX0" fmla="*/ 3920070 w 8433622"/>
              <a:gd name="connsiteY0" fmla="*/ 0 h 5854259"/>
              <a:gd name="connsiteX1" fmla="*/ 3921623 w 8433622"/>
              <a:gd name="connsiteY1" fmla="*/ 0 h 5854259"/>
              <a:gd name="connsiteX2" fmla="*/ 3942361 w 8433622"/>
              <a:gd name="connsiteY2" fmla="*/ 2150 h 5854259"/>
              <a:gd name="connsiteX3" fmla="*/ 5611946 w 8433622"/>
              <a:gd name="connsiteY3" fmla="*/ 2151 h 5854259"/>
              <a:gd name="connsiteX4" fmla="*/ 5611946 w 8433622"/>
              <a:gd name="connsiteY4" fmla="*/ 2154 h 5854259"/>
              <a:gd name="connsiteX5" fmla="*/ 6351359 w 8433622"/>
              <a:gd name="connsiteY5" fmla="*/ 2154 h 5854259"/>
              <a:gd name="connsiteX6" fmla="*/ 6351360 w 8433622"/>
              <a:gd name="connsiteY6" fmla="*/ 1330 h 5854259"/>
              <a:gd name="connsiteX7" fmla="*/ 6351361 w 8433622"/>
              <a:gd name="connsiteY7" fmla="*/ 173 h 5854259"/>
              <a:gd name="connsiteX8" fmla="*/ 7146741 w 8433622"/>
              <a:gd name="connsiteY8" fmla="*/ 0 h 5854259"/>
              <a:gd name="connsiteX9" fmla="*/ 7167509 w 8433622"/>
              <a:gd name="connsiteY9" fmla="*/ 2154 h 5854259"/>
              <a:gd name="connsiteX10" fmla="*/ 7197882 w 8433622"/>
              <a:gd name="connsiteY10" fmla="*/ 2154 h 5854259"/>
              <a:gd name="connsiteX11" fmla="*/ 7197881 w 8433622"/>
              <a:gd name="connsiteY11" fmla="*/ 5304 h 5854259"/>
              <a:gd name="connsiteX12" fmla="*/ 7255678 w 8433622"/>
              <a:gd name="connsiteY12" fmla="*/ 11299 h 5854259"/>
              <a:gd name="connsiteX13" fmla="*/ 7540283 w 8433622"/>
              <a:gd name="connsiteY13" fmla="*/ 164653 h 5854259"/>
              <a:gd name="connsiteX14" fmla="*/ 8264607 w 8433622"/>
              <a:gd name="connsiteY14" fmla="*/ 888978 h 5854259"/>
              <a:gd name="connsiteX15" fmla="*/ 8429260 w 8433622"/>
              <a:gd name="connsiteY15" fmla="*/ 1282519 h 5854259"/>
              <a:gd name="connsiteX16" fmla="*/ 8429232 w 8433622"/>
              <a:gd name="connsiteY16" fmla="*/ 1416839 h 5854259"/>
              <a:gd name="connsiteX17" fmla="*/ 8433622 w 8433622"/>
              <a:gd name="connsiteY17" fmla="*/ 1416840 h 5854259"/>
              <a:gd name="connsiteX18" fmla="*/ 8433622 w 8433622"/>
              <a:gd name="connsiteY18" fmla="*/ 5852108 h 5854259"/>
              <a:gd name="connsiteX19" fmla="*/ 7197882 w 8433622"/>
              <a:gd name="connsiteY19" fmla="*/ 5852108 h 5854259"/>
              <a:gd name="connsiteX20" fmla="*/ 7197881 w 8433622"/>
              <a:gd name="connsiteY20" fmla="*/ 5852111 h 5854259"/>
              <a:gd name="connsiteX21" fmla="*/ 5303429 w 8433622"/>
              <a:gd name="connsiteY21" fmla="*/ 5852110 h 5854259"/>
              <a:gd name="connsiteX22" fmla="*/ 5303428 w 8433622"/>
              <a:gd name="connsiteY22" fmla="*/ 5852929 h 5854259"/>
              <a:gd name="connsiteX23" fmla="*/ 5303427 w 8433622"/>
              <a:gd name="connsiteY23" fmla="*/ 5854086 h 5854259"/>
              <a:gd name="connsiteX24" fmla="*/ 4508047 w 8433622"/>
              <a:gd name="connsiteY24" fmla="*/ 5854259 h 5854259"/>
              <a:gd name="connsiteX25" fmla="*/ 4487306 w 8433622"/>
              <a:gd name="connsiteY25" fmla="*/ 5852108 h 5854259"/>
              <a:gd name="connsiteX26" fmla="*/ 3972763 w 8433622"/>
              <a:gd name="connsiteY26" fmla="*/ 5852108 h 5854259"/>
              <a:gd name="connsiteX27" fmla="*/ 3972763 w 8433622"/>
              <a:gd name="connsiteY27" fmla="*/ 5852110 h 5854259"/>
              <a:gd name="connsiteX28" fmla="*/ 2078312 w 8433622"/>
              <a:gd name="connsiteY28" fmla="*/ 5852111 h 5854259"/>
              <a:gd name="connsiteX29" fmla="*/ 2078310 w 8433622"/>
              <a:gd name="connsiteY29" fmla="*/ 5852929 h 5854259"/>
              <a:gd name="connsiteX30" fmla="*/ 2078308 w 8433622"/>
              <a:gd name="connsiteY30" fmla="*/ 5854086 h 5854259"/>
              <a:gd name="connsiteX31" fmla="*/ 1282928 w 8433622"/>
              <a:gd name="connsiteY31" fmla="*/ 5854259 h 5854259"/>
              <a:gd name="connsiteX32" fmla="*/ 889387 w 8433622"/>
              <a:gd name="connsiteY32" fmla="*/ 5689605 h 5854259"/>
              <a:gd name="connsiteX33" fmla="*/ 165062 w 8433622"/>
              <a:gd name="connsiteY33" fmla="*/ 4965281 h 5854259"/>
              <a:gd name="connsiteX34" fmla="*/ 408 w 8433622"/>
              <a:gd name="connsiteY34" fmla="*/ 4571739 h 5854259"/>
              <a:gd name="connsiteX35" fmla="*/ 438 w 8433622"/>
              <a:gd name="connsiteY35" fmla="*/ 4437419 h 5854259"/>
              <a:gd name="connsiteX36" fmla="*/ 0 w 8433622"/>
              <a:gd name="connsiteY36" fmla="*/ 4437419 h 5854259"/>
              <a:gd name="connsiteX37" fmla="*/ 0 w 8433622"/>
              <a:gd name="connsiteY37" fmla="*/ 2151 h 5854259"/>
              <a:gd name="connsiteX38" fmla="*/ 2386827 w 8433622"/>
              <a:gd name="connsiteY38" fmla="*/ 2151 h 5854259"/>
              <a:gd name="connsiteX39" fmla="*/ 2386827 w 8433622"/>
              <a:gd name="connsiteY39" fmla="*/ 2154 h 5854259"/>
              <a:gd name="connsiteX40" fmla="*/ 3126241 w 8433622"/>
              <a:gd name="connsiteY40" fmla="*/ 2154 h 5854259"/>
              <a:gd name="connsiteX41" fmla="*/ 3126241 w 8433622"/>
              <a:gd name="connsiteY41" fmla="*/ 1330 h 5854259"/>
              <a:gd name="connsiteX42" fmla="*/ 3126243 w 8433622"/>
              <a:gd name="connsiteY42" fmla="*/ 173 h 5854259"/>
              <a:gd name="connsiteX43" fmla="*/ 3920070 w 8433622"/>
              <a:gd name="connsiteY43"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433622" h="5854259">
                <a:moveTo>
                  <a:pt x="3920070" y="0"/>
                </a:moveTo>
                <a:cubicBezTo>
                  <a:pt x="3921623" y="0"/>
                  <a:pt x="3921623" y="0"/>
                  <a:pt x="3921623" y="0"/>
                </a:cubicBezTo>
                <a:lnTo>
                  <a:pt x="3942361" y="2150"/>
                </a:lnTo>
                <a:lnTo>
                  <a:pt x="5611946" y="2151"/>
                </a:lnTo>
                <a:lnTo>
                  <a:pt x="5611946" y="2154"/>
                </a:lnTo>
                <a:lnTo>
                  <a:pt x="6351359" y="2154"/>
                </a:lnTo>
                <a:lnTo>
                  <a:pt x="6351360" y="1330"/>
                </a:lnTo>
                <a:cubicBezTo>
                  <a:pt x="6351361" y="173"/>
                  <a:pt x="6351361" y="173"/>
                  <a:pt x="6351361" y="173"/>
                </a:cubicBezTo>
                <a:cubicBezTo>
                  <a:pt x="7146741" y="0"/>
                  <a:pt x="7146741" y="0"/>
                  <a:pt x="7146741" y="0"/>
                </a:cubicBezTo>
                <a:lnTo>
                  <a:pt x="7167509" y="2154"/>
                </a:lnTo>
                <a:lnTo>
                  <a:pt x="7197882" y="2154"/>
                </a:lnTo>
                <a:lnTo>
                  <a:pt x="7197881" y="5304"/>
                </a:lnTo>
                <a:lnTo>
                  <a:pt x="7255678" y="11299"/>
                </a:lnTo>
                <a:cubicBezTo>
                  <a:pt x="7362449" y="33070"/>
                  <a:pt x="7461371" y="85742"/>
                  <a:pt x="7540283" y="164653"/>
                </a:cubicBezTo>
                <a:cubicBezTo>
                  <a:pt x="8264607" y="888978"/>
                  <a:pt x="8264607" y="888978"/>
                  <a:pt x="8264607" y="888978"/>
                </a:cubicBezTo>
                <a:cubicBezTo>
                  <a:pt x="8368715" y="993086"/>
                  <a:pt x="8428389" y="1134982"/>
                  <a:pt x="8429260" y="1282519"/>
                </a:cubicBezTo>
                <a:lnTo>
                  <a:pt x="8429232" y="1416839"/>
                </a:lnTo>
                <a:lnTo>
                  <a:pt x="8433622" y="1416840"/>
                </a:lnTo>
                <a:lnTo>
                  <a:pt x="8433622" y="5852108"/>
                </a:lnTo>
                <a:lnTo>
                  <a:pt x="7197882" y="5852108"/>
                </a:lnTo>
                <a:lnTo>
                  <a:pt x="7197881" y="5852111"/>
                </a:lnTo>
                <a:lnTo>
                  <a:pt x="5303429" y="5852110"/>
                </a:lnTo>
                <a:lnTo>
                  <a:pt x="5303428" y="5852929"/>
                </a:lnTo>
                <a:cubicBezTo>
                  <a:pt x="5303427" y="5854086"/>
                  <a:pt x="5303427" y="5854086"/>
                  <a:pt x="5303427" y="5854086"/>
                </a:cubicBezTo>
                <a:cubicBezTo>
                  <a:pt x="4508047" y="5854259"/>
                  <a:pt x="4508047" y="5854259"/>
                  <a:pt x="4508047" y="5854259"/>
                </a:cubicBezTo>
                <a:lnTo>
                  <a:pt x="4487306"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rgbClr val="FE8A2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3" name="Title 1">
            <a:extLst>
              <a:ext uri="{FF2B5EF4-FFF2-40B4-BE49-F238E27FC236}">
                <a16:creationId xmlns:a16="http://schemas.microsoft.com/office/drawing/2014/main" id="{6692DA30-7E49-60E7-C70F-22061A006E26}"/>
              </a:ext>
            </a:extLst>
          </p:cNvPr>
          <p:cNvSpPr>
            <a:spLocks noGrp="1"/>
          </p:cNvSpPr>
          <p:nvPr>
            <p:ph type="title"/>
          </p:nvPr>
        </p:nvSpPr>
        <p:spPr>
          <a:xfrm>
            <a:off x="1440315" y="1447799"/>
            <a:ext cx="6065385" cy="3167743"/>
          </a:xfrm>
        </p:spPr>
        <p:txBody>
          <a:bodyPr anchor="ctr">
            <a:noAutofit/>
          </a:bodyPr>
          <a:lstStyle>
            <a:lvl1pPr>
              <a:lnSpc>
                <a:spcPct val="84000"/>
              </a:lnSpc>
              <a:defRPr sz="7200">
                <a:solidFill>
                  <a:schemeClr val="bg1"/>
                </a:solidFill>
              </a:defRPr>
            </a:lvl1pPr>
          </a:lstStyle>
          <a:p>
            <a:r>
              <a:rPr lang="en-US"/>
              <a:t>Click to edit Master title style</a:t>
            </a:r>
          </a:p>
        </p:txBody>
      </p:sp>
      <p:sp>
        <p:nvSpPr>
          <p:cNvPr id="3" name="Text Placeholder 25">
            <a:extLst>
              <a:ext uri="{FF2B5EF4-FFF2-40B4-BE49-F238E27FC236}">
                <a16:creationId xmlns:a16="http://schemas.microsoft.com/office/drawing/2014/main" id="{EC53A6EE-15C6-E97D-4ECF-6DDC191C32B2}"/>
              </a:ext>
            </a:extLst>
          </p:cNvPr>
          <p:cNvSpPr>
            <a:spLocks noGrp="1"/>
          </p:cNvSpPr>
          <p:nvPr>
            <p:ph type="body" sz="quarter" idx="11" hasCustomPrompt="1"/>
          </p:nvPr>
        </p:nvSpPr>
        <p:spPr>
          <a:xfrm>
            <a:off x="9077325" y="3883114"/>
            <a:ext cx="2619376" cy="289711"/>
          </a:xfrm>
          <a:prstGeom prst="rect">
            <a:avLst/>
          </a:prstGeom>
        </p:spPr>
        <p:txBody>
          <a:bodyPr anchor="b"/>
          <a:lstStyle>
            <a:lvl1pPr marL="0" indent="0">
              <a:buNone/>
              <a:defRPr sz="2100">
                <a:solidFill>
                  <a:schemeClr val="accent6"/>
                </a:solidFill>
                <a:latin typeface="+mj-lt"/>
              </a:defRPr>
            </a:lvl1pPr>
          </a:lstStyle>
          <a:p>
            <a:pPr lvl="0"/>
            <a:r>
              <a:rPr lang="en-US"/>
              <a:t>Section 00</a:t>
            </a:r>
          </a:p>
        </p:txBody>
      </p:sp>
      <p:sp>
        <p:nvSpPr>
          <p:cNvPr id="4" name="Subtitle 2">
            <a:extLst>
              <a:ext uri="{FF2B5EF4-FFF2-40B4-BE49-F238E27FC236}">
                <a16:creationId xmlns:a16="http://schemas.microsoft.com/office/drawing/2014/main" id="{2DF844BE-99C5-C441-8EB7-130FE29E44F2}"/>
              </a:ext>
            </a:extLst>
          </p:cNvPr>
          <p:cNvSpPr>
            <a:spLocks noGrp="1"/>
          </p:cNvSpPr>
          <p:nvPr>
            <p:ph type="subTitle" idx="1"/>
          </p:nvPr>
        </p:nvSpPr>
        <p:spPr>
          <a:xfrm>
            <a:off x="9077325" y="4179245"/>
            <a:ext cx="2619375" cy="961080"/>
          </a:xfrm>
        </p:spPr>
        <p:txBody>
          <a:bodyPr/>
          <a:lstStyle>
            <a:lvl1pPr marL="0" indent="0" algn="l">
              <a:buNone/>
              <a:defRPr sz="24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057378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gue Black">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3348281F-E4BF-75A0-15C8-599824A66E32}"/>
              </a:ext>
            </a:extLst>
          </p:cNvPr>
          <p:cNvSpPr/>
          <p:nvPr/>
        </p:nvSpPr>
        <p:spPr>
          <a:xfrm>
            <a:off x="0" y="0"/>
            <a:ext cx="8433622" cy="5854259"/>
          </a:xfrm>
          <a:custGeom>
            <a:avLst/>
            <a:gdLst>
              <a:gd name="connsiteX0" fmla="*/ 3920070 w 8433622"/>
              <a:gd name="connsiteY0" fmla="*/ 0 h 5854259"/>
              <a:gd name="connsiteX1" fmla="*/ 3921623 w 8433622"/>
              <a:gd name="connsiteY1" fmla="*/ 0 h 5854259"/>
              <a:gd name="connsiteX2" fmla="*/ 3942361 w 8433622"/>
              <a:gd name="connsiteY2" fmla="*/ 2150 h 5854259"/>
              <a:gd name="connsiteX3" fmla="*/ 5611946 w 8433622"/>
              <a:gd name="connsiteY3" fmla="*/ 2151 h 5854259"/>
              <a:gd name="connsiteX4" fmla="*/ 5611946 w 8433622"/>
              <a:gd name="connsiteY4" fmla="*/ 2154 h 5854259"/>
              <a:gd name="connsiteX5" fmla="*/ 6351359 w 8433622"/>
              <a:gd name="connsiteY5" fmla="*/ 2154 h 5854259"/>
              <a:gd name="connsiteX6" fmla="*/ 6351360 w 8433622"/>
              <a:gd name="connsiteY6" fmla="*/ 1330 h 5854259"/>
              <a:gd name="connsiteX7" fmla="*/ 6351361 w 8433622"/>
              <a:gd name="connsiteY7" fmla="*/ 173 h 5854259"/>
              <a:gd name="connsiteX8" fmla="*/ 7146741 w 8433622"/>
              <a:gd name="connsiteY8" fmla="*/ 0 h 5854259"/>
              <a:gd name="connsiteX9" fmla="*/ 7167509 w 8433622"/>
              <a:gd name="connsiteY9" fmla="*/ 2154 h 5854259"/>
              <a:gd name="connsiteX10" fmla="*/ 7197882 w 8433622"/>
              <a:gd name="connsiteY10" fmla="*/ 2154 h 5854259"/>
              <a:gd name="connsiteX11" fmla="*/ 7197881 w 8433622"/>
              <a:gd name="connsiteY11" fmla="*/ 5304 h 5854259"/>
              <a:gd name="connsiteX12" fmla="*/ 7255678 w 8433622"/>
              <a:gd name="connsiteY12" fmla="*/ 11299 h 5854259"/>
              <a:gd name="connsiteX13" fmla="*/ 7540283 w 8433622"/>
              <a:gd name="connsiteY13" fmla="*/ 164653 h 5854259"/>
              <a:gd name="connsiteX14" fmla="*/ 8264607 w 8433622"/>
              <a:gd name="connsiteY14" fmla="*/ 888978 h 5854259"/>
              <a:gd name="connsiteX15" fmla="*/ 8429260 w 8433622"/>
              <a:gd name="connsiteY15" fmla="*/ 1282519 h 5854259"/>
              <a:gd name="connsiteX16" fmla="*/ 8429232 w 8433622"/>
              <a:gd name="connsiteY16" fmla="*/ 1416839 h 5854259"/>
              <a:gd name="connsiteX17" fmla="*/ 8433622 w 8433622"/>
              <a:gd name="connsiteY17" fmla="*/ 1416840 h 5854259"/>
              <a:gd name="connsiteX18" fmla="*/ 8433622 w 8433622"/>
              <a:gd name="connsiteY18" fmla="*/ 5852108 h 5854259"/>
              <a:gd name="connsiteX19" fmla="*/ 7197882 w 8433622"/>
              <a:gd name="connsiteY19" fmla="*/ 5852108 h 5854259"/>
              <a:gd name="connsiteX20" fmla="*/ 7197881 w 8433622"/>
              <a:gd name="connsiteY20" fmla="*/ 5852111 h 5854259"/>
              <a:gd name="connsiteX21" fmla="*/ 5303429 w 8433622"/>
              <a:gd name="connsiteY21" fmla="*/ 5852110 h 5854259"/>
              <a:gd name="connsiteX22" fmla="*/ 5303428 w 8433622"/>
              <a:gd name="connsiteY22" fmla="*/ 5852929 h 5854259"/>
              <a:gd name="connsiteX23" fmla="*/ 5303427 w 8433622"/>
              <a:gd name="connsiteY23" fmla="*/ 5854086 h 5854259"/>
              <a:gd name="connsiteX24" fmla="*/ 4508047 w 8433622"/>
              <a:gd name="connsiteY24" fmla="*/ 5854259 h 5854259"/>
              <a:gd name="connsiteX25" fmla="*/ 4487306 w 8433622"/>
              <a:gd name="connsiteY25" fmla="*/ 5852108 h 5854259"/>
              <a:gd name="connsiteX26" fmla="*/ 3972763 w 8433622"/>
              <a:gd name="connsiteY26" fmla="*/ 5852108 h 5854259"/>
              <a:gd name="connsiteX27" fmla="*/ 3972763 w 8433622"/>
              <a:gd name="connsiteY27" fmla="*/ 5852110 h 5854259"/>
              <a:gd name="connsiteX28" fmla="*/ 2078312 w 8433622"/>
              <a:gd name="connsiteY28" fmla="*/ 5852111 h 5854259"/>
              <a:gd name="connsiteX29" fmla="*/ 2078310 w 8433622"/>
              <a:gd name="connsiteY29" fmla="*/ 5852929 h 5854259"/>
              <a:gd name="connsiteX30" fmla="*/ 2078308 w 8433622"/>
              <a:gd name="connsiteY30" fmla="*/ 5854086 h 5854259"/>
              <a:gd name="connsiteX31" fmla="*/ 1282928 w 8433622"/>
              <a:gd name="connsiteY31" fmla="*/ 5854259 h 5854259"/>
              <a:gd name="connsiteX32" fmla="*/ 889387 w 8433622"/>
              <a:gd name="connsiteY32" fmla="*/ 5689605 h 5854259"/>
              <a:gd name="connsiteX33" fmla="*/ 165062 w 8433622"/>
              <a:gd name="connsiteY33" fmla="*/ 4965281 h 5854259"/>
              <a:gd name="connsiteX34" fmla="*/ 408 w 8433622"/>
              <a:gd name="connsiteY34" fmla="*/ 4571739 h 5854259"/>
              <a:gd name="connsiteX35" fmla="*/ 438 w 8433622"/>
              <a:gd name="connsiteY35" fmla="*/ 4437419 h 5854259"/>
              <a:gd name="connsiteX36" fmla="*/ 0 w 8433622"/>
              <a:gd name="connsiteY36" fmla="*/ 4437419 h 5854259"/>
              <a:gd name="connsiteX37" fmla="*/ 0 w 8433622"/>
              <a:gd name="connsiteY37" fmla="*/ 2151 h 5854259"/>
              <a:gd name="connsiteX38" fmla="*/ 2386827 w 8433622"/>
              <a:gd name="connsiteY38" fmla="*/ 2151 h 5854259"/>
              <a:gd name="connsiteX39" fmla="*/ 2386827 w 8433622"/>
              <a:gd name="connsiteY39" fmla="*/ 2154 h 5854259"/>
              <a:gd name="connsiteX40" fmla="*/ 3126241 w 8433622"/>
              <a:gd name="connsiteY40" fmla="*/ 2154 h 5854259"/>
              <a:gd name="connsiteX41" fmla="*/ 3126241 w 8433622"/>
              <a:gd name="connsiteY41" fmla="*/ 1330 h 5854259"/>
              <a:gd name="connsiteX42" fmla="*/ 3126243 w 8433622"/>
              <a:gd name="connsiteY42" fmla="*/ 173 h 5854259"/>
              <a:gd name="connsiteX43" fmla="*/ 3920070 w 8433622"/>
              <a:gd name="connsiteY43"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433622" h="5854259">
                <a:moveTo>
                  <a:pt x="3920070" y="0"/>
                </a:moveTo>
                <a:cubicBezTo>
                  <a:pt x="3921623" y="0"/>
                  <a:pt x="3921623" y="0"/>
                  <a:pt x="3921623" y="0"/>
                </a:cubicBezTo>
                <a:lnTo>
                  <a:pt x="3942361" y="2150"/>
                </a:lnTo>
                <a:lnTo>
                  <a:pt x="5611946" y="2151"/>
                </a:lnTo>
                <a:lnTo>
                  <a:pt x="5611946" y="2154"/>
                </a:lnTo>
                <a:lnTo>
                  <a:pt x="6351359" y="2154"/>
                </a:lnTo>
                <a:lnTo>
                  <a:pt x="6351360" y="1330"/>
                </a:lnTo>
                <a:cubicBezTo>
                  <a:pt x="6351361" y="173"/>
                  <a:pt x="6351361" y="173"/>
                  <a:pt x="6351361" y="173"/>
                </a:cubicBezTo>
                <a:cubicBezTo>
                  <a:pt x="7146741" y="0"/>
                  <a:pt x="7146741" y="0"/>
                  <a:pt x="7146741" y="0"/>
                </a:cubicBezTo>
                <a:lnTo>
                  <a:pt x="7167509" y="2154"/>
                </a:lnTo>
                <a:lnTo>
                  <a:pt x="7197882" y="2154"/>
                </a:lnTo>
                <a:lnTo>
                  <a:pt x="7197881" y="5304"/>
                </a:lnTo>
                <a:lnTo>
                  <a:pt x="7255678" y="11299"/>
                </a:lnTo>
                <a:cubicBezTo>
                  <a:pt x="7362449" y="33070"/>
                  <a:pt x="7461371" y="85742"/>
                  <a:pt x="7540283" y="164653"/>
                </a:cubicBezTo>
                <a:cubicBezTo>
                  <a:pt x="8264607" y="888978"/>
                  <a:pt x="8264607" y="888978"/>
                  <a:pt x="8264607" y="888978"/>
                </a:cubicBezTo>
                <a:cubicBezTo>
                  <a:pt x="8368715" y="993086"/>
                  <a:pt x="8428389" y="1134982"/>
                  <a:pt x="8429260" y="1282519"/>
                </a:cubicBezTo>
                <a:lnTo>
                  <a:pt x="8429232" y="1416839"/>
                </a:lnTo>
                <a:lnTo>
                  <a:pt x="8433622" y="1416840"/>
                </a:lnTo>
                <a:lnTo>
                  <a:pt x="8433622" y="5852108"/>
                </a:lnTo>
                <a:lnTo>
                  <a:pt x="7197882" y="5852108"/>
                </a:lnTo>
                <a:lnTo>
                  <a:pt x="7197881" y="5852111"/>
                </a:lnTo>
                <a:lnTo>
                  <a:pt x="5303429" y="5852110"/>
                </a:lnTo>
                <a:lnTo>
                  <a:pt x="5303428" y="5852929"/>
                </a:lnTo>
                <a:cubicBezTo>
                  <a:pt x="5303427" y="5854086"/>
                  <a:pt x="5303427" y="5854086"/>
                  <a:pt x="5303427" y="5854086"/>
                </a:cubicBezTo>
                <a:cubicBezTo>
                  <a:pt x="4508047" y="5854259"/>
                  <a:pt x="4508047" y="5854259"/>
                  <a:pt x="4508047" y="5854259"/>
                </a:cubicBezTo>
                <a:lnTo>
                  <a:pt x="4487306"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Text Placeholder 25">
            <a:extLst>
              <a:ext uri="{FF2B5EF4-FFF2-40B4-BE49-F238E27FC236}">
                <a16:creationId xmlns:a16="http://schemas.microsoft.com/office/drawing/2014/main" id="{CAA64B69-6870-9345-43ED-30469132BE79}"/>
              </a:ext>
            </a:extLst>
          </p:cNvPr>
          <p:cNvSpPr>
            <a:spLocks noGrp="1"/>
          </p:cNvSpPr>
          <p:nvPr>
            <p:ph type="body" sz="quarter" idx="11" hasCustomPrompt="1"/>
          </p:nvPr>
        </p:nvSpPr>
        <p:spPr>
          <a:xfrm>
            <a:off x="9077325" y="3883114"/>
            <a:ext cx="2619376" cy="289711"/>
          </a:xfrm>
          <a:prstGeom prst="rect">
            <a:avLst/>
          </a:prstGeom>
        </p:spPr>
        <p:txBody>
          <a:bodyPr anchor="b"/>
          <a:lstStyle>
            <a:lvl1pPr marL="0" indent="0">
              <a:buNone/>
              <a:defRPr sz="2100">
                <a:solidFill>
                  <a:schemeClr val="accent1"/>
                </a:solidFill>
                <a:latin typeface="+mj-lt"/>
              </a:defRPr>
            </a:lvl1pPr>
          </a:lstStyle>
          <a:p>
            <a:pPr lvl="0"/>
            <a:r>
              <a:rPr lang="en-US"/>
              <a:t>Section 00</a:t>
            </a:r>
          </a:p>
        </p:txBody>
      </p:sp>
      <p:sp>
        <p:nvSpPr>
          <p:cNvPr id="2" name="Subtitle 2">
            <a:extLst>
              <a:ext uri="{FF2B5EF4-FFF2-40B4-BE49-F238E27FC236}">
                <a16:creationId xmlns:a16="http://schemas.microsoft.com/office/drawing/2014/main" id="{A3A3FC33-1ED6-1515-EA16-01036EE16E2B}"/>
              </a:ext>
            </a:extLst>
          </p:cNvPr>
          <p:cNvSpPr>
            <a:spLocks noGrp="1"/>
          </p:cNvSpPr>
          <p:nvPr>
            <p:ph type="subTitle" idx="1"/>
          </p:nvPr>
        </p:nvSpPr>
        <p:spPr>
          <a:xfrm>
            <a:off x="9077325" y="4179245"/>
            <a:ext cx="2619375" cy="96108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Title 1">
            <a:extLst>
              <a:ext uri="{FF2B5EF4-FFF2-40B4-BE49-F238E27FC236}">
                <a16:creationId xmlns:a16="http://schemas.microsoft.com/office/drawing/2014/main" id="{A226252F-A467-EB73-566C-0C17582FA9C6}"/>
              </a:ext>
            </a:extLst>
          </p:cNvPr>
          <p:cNvSpPr>
            <a:spLocks noGrp="1"/>
          </p:cNvSpPr>
          <p:nvPr>
            <p:ph type="title"/>
          </p:nvPr>
        </p:nvSpPr>
        <p:spPr>
          <a:xfrm>
            <a:off x="1440315" y="1447799"/>
            <a:ext cx="6065385" cy="3167743"/>
          </a:xfrm>
        </p:spPr>
        <p:txBody>
          <a:bodyPr>
            <a:noAutofit/>
          </a:bodyPr>
          <a:lstStyle>
            <a:lvl1pPr>
              <a:lnSpc>
                <a:spcPct val="84000"/>
              </a:lnSpc>
              <a:defRPr sz="7200">
                <a:solidFill>
                  <a:schemeClr val="bg1"/>
                </a:solidFill>
              </a:defRPr>
            </a:lvl1pPr>
          </a:lstStyle>
          <a:p>
            <a:r>
              <a:rPr lang="en-US"/>
              <a:t>Click to edit Master title style</a:t>
            </a:r>
          </a:p>
        </p:txBody>
      </p:sp>
    </p:spTree>
    <p:extLst>
      <p:ext uri="{BB962C8B-B14F-4D97-AF65-F5344CB8AC3E}">
        <p14:creationId xmlns:p14="http://schemas.microsoft.com/office/powerpoint/2010/main" val="4165631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ong Segue Viridis">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69F11427-BF8E-9C4B-8FF2-DBE37EBA0B06}"/>
              </a:ext>
            </a:extLst>
          </p:cNvPr>
          <p:cNvSpPr/>
          <p:nvPr/>
        </p:nvSpPr>
        <p:spPr>
          <a:xfrm>
            <a:off x="0" y="0"/>
            <a:ext cx="11688451" cy="5854259"/>
          </a:xfrm>
          <a:custGeom>
            <a:avLst/>
            <a:gdLst>
              <a:gd name="connsiteX0" fmla="*/ 3920070 w 11688451"/>
              <a:gd name="connsiteY0" fmla="*/ 0 h 5854259"/>
              <a:gd name="connsiteX1" fmla="*/ 3921623 w 11688451"/>
              <a:gd name="connsiteY1" fmla="*/ 0 h 5854259"/>
              <a:gd name="connsiteX2" fmla="*/ 3942361 w 11688451"/>
              <a:gd name="connsiteY2" fmla="*/ 2150 h 5854259"/>
              <a:gd name="connsiteX3" fmla="*/ 5611946 w 11688451"/>
              <a:gd name="connsiteY3" fmla="*/ 2151 h 5854259"/>
              <a:gd name="connsiteX4" fmla="*/ 5641656 w 11688451"/>
              <a:gd name="connsiteY4" fmla="*/ 2151 h 5854259"/>
              <a:gd name="connsiteX5" fmla="*/ 5641656 w 11688451"/>
              <a:gd name="connsiteY5" fmla="*/ 2154 h 5854259"/>
              <a:gd name="connsiteX6" fmla="*/ 6351359 w 11688451"/>
              <a:gd name="connsiteY6" fmla="*/ 2154 h 5854259"/>
              <a:gd name="connsiteX7" fmla="*/ 6351360 w 11688451"/>
              <a:gd name="connsiteY7" fmla="*/ 1330 h 5854259"/>
              <a:gd name="connsiteX8" fmla="*/ 6351361 w 11688451"/>
              <a:gd name="connsiteY8" fmla="*/ 173 h 5854259"/>
              <a:gd name="connsiteX9" fmla="*/ 7146741 w 11688451"/>
              <a:gd name="connsiteY9" fmla="*/ 0 h 5854259"/>
              <a:gd name="connsiteX10" fmla="*/ 7146804 w 11688451"/>
              <a:gd name="connsiteY10" fmla="*/ 7 h 5854259"/>
              <a:gd name="connsiteX11" fmla="*/ 7166212 w 11688451"/>
              <a:gd name="connsiteY11" fmla="*/ 2 h 5854259"/>
              <a:gd name="connsiteX12" fmla="*/ 7174899 w 11688451"/>
              <a:gd name="connsiteY12" fmla="*/ 0 h 5854259"/>
              <a:gd name="connsiteX13" fmla="*/ 7176452 w 11688451"/>
              <a:gd name="connsiteY13" fmla="*/ 0 h 5854259"/>
              <a:gd name="connsiteX14" fmla="*/ 7197190 w 11688451"/>
              <a:gd name="connsiteY14" fmla="*/ 2150 h 5854259"/>
              <a:gd name="connsiteX15" fmla="*/ 8866775 w 11688451"/>
              <a:gd name="connsiteY15" fmla="*/ 2151 h 5854259"/>
              <a:gd name="connsiteX16" fmla="*/ 8866775 w 11688451"/>
              <a:gd name="connsiteY16" fmla="*/ 2154 h 5854259"/>
              <a:gd name="connsiteX17" fmla="*/ 9606188 w 11688451"/>
              <a:gd name="connsiteY17" fmla="*/ 2154 h 5854259"/>
              <a:gd name="connsiteX18" fmla="*/ 9606189 w 11688451"/>
              <a:gd name="connsiteY18" fmla="*/ 1330 h 5854259"/>
              <a:gd name="connsiteX19" fmla="*/ 9606190 w 11688451"/>
              <a:gd name="connsiteY19" fmla="*/ 173 h 5854259"/>
              <a:gd name="connsiteX20" fmla="*/ 10401570 w 11688451"/>
              <a:gd name="connsiteY20" fmla="*/ 0 h 5854259"/>
              <a:gd name="connsiteX21" fmla="*/ 10422338 w 11688451"/>
              <a:gd name="connsiteY21" fmla="*/ 2154 h 5854259"/>
              <a:gd name="connsiteX22" fmla="*/ 10452711 w 11688451"/>
              <a:gd name="connsiteY22" fmla="*/ 2154 h 5854259"/>
              <a:gd name="connsiteX23" fmla="*/ 10452710 w 11688451"/>
              <a:gd name="connsiteY23" fmla="*/ 5304 h 5854259"/>
              <a:gd name="connsiteX24" fmla="*/ 10510507 w 11688451"/>
              <a:gd name="connsiteY24" fmla="*/ 11299 h 5854259"/>
              <a:gd name="connsiteX25" fmla="*/ 10795112 w 11688451"/>
              <a:gd name="connsiteY25" fmla="*/ 164653 h 5854259"/>
              <a:gd name="connsiteX26" fmla="*/ 11519436 w 11688451"/>
              <a:gd name="connsiteY26" fmla="*/ 888978 h 5854259"/>
              <a:gd name="connsiteX27" fmla="*/ 11684089 w 11688451"/>
              <a:gd name="connsiteY27" fmla="*/ 1282519 h 5854259"/>
              <a:gd name="connsiteX28" fmla="*/ 11684061 w 11688451"/>
              <a:gd name="connsiteY28" fmla="*/ 1416839 h 5854259"/>
              <a:gd name="connsiteX29" fmla="*/ 11688451 w 11688451"/>
              <a:gd name="connsiteY29" fmla="*/ 1416840 h 5854259"/>
              <a:gd name="connsiteX30" fmla="*/ 11688451 w 11688451"/>
              <a:gd name="connsiteY30" fmla="*/ 5852108 h 5854259"/>
              <a:gd name="connsiteX31" fmla="*/ 10452711 w 11688451"/>
              <a:gd name="connsiteY31" fmla="*/ 5852108 h 5854259"/>
              <a:gd name="connsiteX32" fmla="*/ 10452710 w 11688451"/>
              <a:gd name="connsiteY32" fmla="*/ 5852111 h 5854259"/>
              <a:gd name="connsiteX33" fmla="*/ 8558258 w 11688451"/>
              <a:gd name="connsiteY33" fmla="*/ 5852110 h 5854259"/>
              <a:gd name="connsiteX34" fmla="*/ 8558257 w 11688451"/>
              <a:gd name="connsiteY34" fmla="*/ 5852929 h 5854259"/>
              <a:gd name="connsiteX35" fmla="*/ 8558256 w 11688451"/>
              <a:gd name="connsiteY35" fmla="*/ 5854086 h 5854259"/>
              <a:gd name="connsiteX36" fmla="*/ 7762876 w 11688451"/>
              <a:gd name="connsiteY36" fmla="*/ 5854259 h 5854259"/>
              <a:gd name="connsiteX37" fmla="*/ 7742135 w 11688451"/>
              <a:gd name="connsiteY37" fmla="*/ 5852108 h 5854259"/>
              <a:gd name="connsiteX38" fmla="*/ 7227592 w 11688451"/>
              <a:gd name="connsiteY38" fmla="*/ 5852108 h 5854259"/>
              <a:gd name="connsiteX39" fmla="*/ 7227592 w 11688451"/>
              <a:gd name="connsiteY39" fmla="*/ 5852110 h 5854259"/>
              <a:gd name="connsiteX40" fmla="*/ 7197882 w 11688451"/>
              <a:gd name="connsiteY40" fmla="*/ 5852110 h 5854259"/>
              <a:gd name="connsiteX41" fmla="*/ 7197881 w 11688451"/>
              <a:gd name="connsiteY41" fmla="*/ 5852111 h 5854259"/>
              <a:gd name="connsiteX42" fmla="*/ 6265511 w 11688451"/>
              <a:gd name="connsiteY42" fmla="*/ 5852111 h 5854259"/>
              <a:gd name="connsiteX43" fmla="*/ 5333141 w 11688451"/>
              <a:gd name="connsiteY43" fmla="*/ 5852111 h 5854259"/>
              <a:gd name="connsiteX44" fmla="*/ 5333139 w 11688451"/>
              <a:gd name="connsiteY44" fmla="*/ 5852929 h 5854259"/>
              <a:gd name="connsiteX45" fmla="*/ 5333137 w 11688451"/>
              <a:gd name="connsiteY45" fmla="*/ 5854086 h 5854259"/>
              <a:gd name="connsiteX46" fmla="*/ 4537757 w 11688451"/>
              <a:gd name="connsiteY46" fmla="*/ 5854259 h 5854259"/>
              <a:gd name="connsiteX47" fmla="*/ 4537695 w 11688451"/>
              <a:gd name="connsiteY47" fmla="*/ 5854253 h 5854259"/>
              <a:gd name="connsiteX48" fmla="*/ 4520475 w 11688451"/>
              <a:gd name="connsiteY48" fmla="*/ 5854257 h 5854259"/>
              <a:gd name="connsiteX49" fmla="*/ 4508047 w 11688451"/>
              <a:gd name="connsiteY49" fmla="*/ 5854259 h 5854259"/>
              <a:gd name="connsiteX50" fmla="*/ 4487307 w 11688451"/>
              <a:gd name="connsiteY50" fmla="*/ 5852108 h 5854259"/>
              <a:gd name="connsiteX51" fmla="*/ 3972763 w 11688451"/>
              <a:gd name="connsiteY51" fmla="*/ 5852108 h 5854259"/>
              <a:gd name="connsiteX52" fmla="*/ 3972763 w 11688451"/>
              <a:gd name="connsiteY52" fmla="*/ 5852110 h 5854259"/>
              <a:gd name="connsiteX53" fmla="*/ 2078312 w 11688451"/>
              <a:gd name="connsiteY53" fmla="*/ 5852111 h 5854259"/>
              <a:gd name="connsiteX54" fmla="*/ 2078310 w 11688451"/>
              <a:gd name="connsiteY54" fmla="*/ 5852929 h 5854259"/>
              <a:gd name="connsiteX55" fmla="*/ 2078308 w 11688451"/>
              <a:gd name="connsiteY55" fmla="*/ 5854086 h 5854259"/>
              <a:gd name="connsiteX56" fmla="*/ 1282928 w 11688451"/>
              <a:gd name="connsiteY56" fmla="*/ 5854259 h 5854259"/>
              <a:gd name="connsiteX57" fmla="*/ 889387 w 11688451"/>
              <a:gd name="connsiteY57" fmla="*/ 5689605 h 5854259"/>
              <a:gd name="connsiteX58" fmla="*/ 165062 w 11688451"/>
              <a:gd name="connsiteY58" fmla="*/ 4965281 h 5854259"/>
              <a:gd name="connsiteX59" fmla="*/ 408 w 11688451"/>
              <a:gd name="connsiteY59" fmla="*/ 4571739 h 5854259"/>
              <a:gd name="connsiteX60" fmla="*/ 438 w 11688451"/>
              <a:gd name="connsiteY60" fmla="*/ 4437419 h 5854259"/>
              <a:gd name="connsiteX61" fmla="*/ 0 w 11688451"/>
              <a:gd name="connsiteY61" fmla="*/ 4437419 h 5854259"/>
              <a:gd name="connsiteX62" fmla="*/ 0 w 11688451"/>
              <a:gd name="connsiteY62" fmla="*/ 2151 h 5854259"/>
              <a:gd name="connsiteX63" fmla="*/ 2386827 w 11688451"/>
              <a:gd name="connsiteY63" fmla="*/ 2151 h 5854259"/>
              <a:gd name="connsiteX64" fmla="*/ 2386827 w 11688451"/>
              <a:gd name="connsiteY64" fmla="*/ 2154 h 5854259"/>
              <a:gd name="connsiteX65" fmla="*/ 3126241 w 11688451"/>
              <a:gd name="connsiteY65" fmla="*/ 2154 h 5854259"/>
              <a:gd name="connsiteX66" fmla="*/ 3126241 w 11688451"/>
              <a:gd name="connsiteY66" fmla="*/ 1330 h 5854259"/>
              <a:gd name="connsiteX67" fmla="*/ 3126243 w 11688451"/>
              <a:gd name="connsiteY67" fmla="*/ 173 h 5854259"/>
              <a:gd name="connsiteX68" fmla="*/ 3920070 w 11688451"/>
              <a:gd name="connsiteY68"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688451" h="5854259">
                <a:moveTo>
                  <a:pt x="3920070" y="0"/>
                </a:moveTo>
                <a:cubicBezTo>
                  <a:pt x="3921623" y="0"/>
                  <a:pt x="3921623" y="0"/>
                  <a:pt x="3921623" y="0"/>
                </a:cubicBezTo>
                <a:lnTo>
                  <a:pt x="3942361" y="2150"/>
                </a:lnTo>
                <a:lnTo>
                  <a:pt x="5611946" y="2151"/>
                </a:lnTo>
                <a:lnTo>
                  <a:pt x="5641656" y="2151"/>
                </a:lnTo>
                <a:lnTo>
                  <a:pt x="5641656" y="2154"/>
                </a:lnTo>
                <a:lnTo>
                  <a:pt x="6351359" y="2154"/>
                </a:lnTo>
                <a:lnTo>
                  <a:pt x="6351360" y="1330"/>
                </a:lnTo>
                <a:cubicBezTo>
                  <a:pt x="6351361" y="173"/>
                  <a:pt x="6351361" y="173"/>
                  <a:pt x="6351361" y="173"/>
                </a:cubicBezTo>
                <a:cubicBezTo>
                  <a:pt x="7146741" y="0"/>
                  <a:pt x="7146741" y="0"/>
                  <a:pt x="7146741" y="0"/>
                </a:cubicBezTo>
                <a:lnTo>
                  <a:pt x="7146804" y="7"/>
                </a:lnTo>
                <a:lnTo>
                  <a:pt x="7166212" y="2"/>
                </a:lnTo>
                <a:cubicBezTo>
                  <a:pt x="7170991" y="1"/>
                  <a:pt x="7173540" y="0"/>
                  <a:pt x="7174899" y="0"/>
                </a:cubicBezTo>
                <a:cubicBezTo>
                  <a:pt x="7176452" y="0"/>
                  <a:pt x="7176452" y="0"/>
                  <a:pt x="7176452" y="0"/>
                </a:cubicBezTo>
                <a:lnTo>
                  <a:pt x="7197190" y="2150"/>
                </a:lnTo>
                <a:lnTo>
                  <a:pt x="8866775" y="2151"/>
                </a:lnTo>
                <a:lnTo>
                  <a:pt x="8866775" y="2154"/>
                </a:lnTo>
                <a:lnTo>
                  <a:pt x="9606188" y="2154"/>
                </a:lnTo>
                <a:lnTo>
                  <a:pt x="9606189" y="1330"/>
                </a:lnTo>
                <a:cubicBezTo>
                  <a:pt x="9606190" y="173"/>
                  <a:pt x="9606190" y="173"/>
                  <a:pt x="9606190" y="173"/>
                </a:cubicBezTo>
                <a:cubicBezTo>
                  <a:pt x="10401570" y="0"/>
                  <a:pt x="10401570" y="0"/>
                  <a:pt x="10401570" y="0"/>
                </a:cubicBezTo>
                <a:lnTo>
                  <a:pt x="10422338" y="2154"/>
                </a:lnTo>
                <a:lnTo>
                  <a:pt x="10452711" y="2154"/>
                </a:lnTo>
                <a:lnTo>
                  <a:pt x="10452710" y="5304"/>
                </a:lnTo>
                <a:lnTo>
                  <a:pt x="10510507" y="11299"/>
                </a:lnTo>
                <a:cubicBezTo>
                  <a:pt x="10617278" y="33070"/>
                  <a:pt x="10716200" y="85742"/>
                  <a:pt x="10795112" y="164653"/>
                </a:cubicBezTo>
                <a:cubicBezTo>
                  <a:pt x="11519436" y="888978"/>
                  <a:pt x="11519436" y="888978"/>
                  <a:pt x="11519436" y="888978"/>
                </a:cubicBezTo>
                <a:cubicBezTo>
                  <a:pt x="11623544" y="993086"/>
                  <a:pt x="11683218" y="1134982"/>
                  <a:pt x="11684089" y="1282519"/>
                </a:cubicBezTo>
                <a:lnTo>
                  <a:pt x="11684061" y="1416839"/>
                </a:lnTo>
                <a:lnTo>
                  <a:pt x="11688451" y="1416840"/>
                </a:lnTo>
                <a:lnTo>
                  <a:pt x="11688451" y="5852108"/>
                </a:lnTo>
                <a:lnTo>
                  <a:pt x="10452711" y="5852108"/>
                </a:lnTo>
                <a:lnTo>
                  <a:pt x="10452710" y="5852111"/>
                </a:lnTo>
                <a:lnTo>
                  <a:pt x="8558258" y="5852110"/>
                </a:lnTo>
                <a:lnTo>
                  <a:pt x="8558257" y="5852929"/>
                </a:lnTo>
                <a:cubicBezTo>
                  <a:pt x="8558256" y="5854086"/>
                  <a:pt x="8558256" y="5854086"/>
                  <a:pt x="8558256" y="5854086"/>
                </a:cubicBezTo>
                <a:cubicBezTo>
                  <a:pt x="7762876" y="5854259"/>
                  <a:pt x="7762876" y="5854259"/>
                  <a:pt x="7762876" y="5854259"/>
                </a:cubicBezTo>
                <a:lnTo>
                  <a:pt x="7742135" y="5852108"/>
                </a:lnTo>
                <a:lnTo>
                  <a:pt x="7227592" y="5852108"/>
                </a:lnTo>
                <a:lnTo>
                  <a:pt x="7227592" y="5852110"/>
                </a:lnTo>
                <a:lnTo>
                  <a:pt x="7197882" y="5852110"/>
                </a:lnTo>
                <a:lnTo>
                  <a:pt x="7197881" y="5852111"/>
                </a:lnTo>
                <a:lnTo>
                  <a:pt x="6265511" y="5852111"/>
                </a:lnTo>
                <a:lnTo>
                  <a:pt x="5333141" y="5852111"/>
                </a:lnTo>
                <a:lnTo>
                  <a:pt x="5333139" y="5852929"/>
                </a:lnTo>
                <a:cubicBezTo>
                  <a:pt x="5333137" y="5854086"/>
                  <a:pt x="5333137" y="5854086"/>
                  <a:pt x="5333137" y="5854086"/>
                </a:cubicBezTo>
                <a:cubicBezTo>
                  <a:pt x="4537757" y="5854259"/>
                  <a:pt x="4537757" y="5854259"/>
                  <a:pt x="4537757" y="5854259"/>
                </a:cubicBezTo>
                <a:lnTo>
                  <a:pt x="4537695" y="5854253"/>
                </a:lnTo>
                <a:lnTo>
                  <a:pt x="4520475" y="5854257"/>
                </a:lnTo>
                <a:cubicBezTo>
                  <a:pt x="4508047" y="5854259"/>
                  <a:pt x="4508047" y="5854259"/>
                  <a:pt x="4508047" y="5854259"/>
                </a:cubicBezTo>
                <a:lnTo>
                  <a:pt x="4487307"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FD12B88C-1D9B-01AB-26E3-BC8A0762016B}"/>
              </a:ext>
            </a:extLst>
          </p:cNvPr>
          <p:cNvSpPr>
            <a:spLocks noGrp="1"/>
          </p:cNvSpPr>
          <p:nvPr>
            <p:ph type="title"/>
          </p:nvPr>
        </p:nvSpPr>
        <p:spPr>
          <a:xfrm>
            <a:off x="1446213" y="1486886"/>
            <a:ext cx="8940800" cy="2492830"/>
          </a:xfrm>
        </p:spPr>
        <p:txBody>
          <a:bodyPr anchor="ctr">
            <a:noAutofit/>
          </a:bodyPr>
          <a:lstStyle>
            <a:lvl1pPr>
              <a:lnSpc>
                <a:spcPct val="84000"/>
              </a:lnSpc>
              <a:defRPr sz="7200">
                <a:solidFill>
                  <a:schemeClr val="accent1"/>
                </a:solidFill>
              </a:defRPr>
            </a:lvl1pPr>
          </a:lstStyle>
          <a:p>
            <a:r>
              <a:rPr lang="en-US"/>
              <a:t>Click to edit Master title style</a:t>
            </a:r>
          </a:p>
        </p:txBody>
      </p:sp>
      <p:sp>
        <p:nvSpPr>
          <p:cNvPr id="4" name="Text Placeholder 25">
            <a:extLst>
              <a:ext uri="{FF2B5EF4-FFF2-40B4-BE49-F238E27FC236}">
                <a16:creationId xmlns:a16="http://schemas.microsoft.com/office/drawing/2014/main" id="{39D42FA4-97E5-2009-BCA8-2325360CAFBE}"/>
              </a:ext>
            </a:extLst>
          </p:cNvPr>
          <p:cNvSpPr>
            <a:spLocks noGrp="1"/>
          </p:cNvSpPr>
          <p:nvPr>
            <p:ph type="body" sz="quarter" idx="15" hasCustomPrompt="1"/>
          </p:nvPr>
        </p:nvSpPr>
        <p:spPr>
          <a:xfrm>
            <a:off x="1446214" y="618372"/>
            <a:ext cx="2620962" cy="397328"/>
          </a:xfrm>
          <a:prstGeom prst="rect">
            <a:avLst/>
          </a:prstGeom>
        </p:spPr>
        <p:txBody>
          <a:bodyPr/>
          <a:lstStyle>
            <a:lvl1pPr marL="0" indent="0">
              <a:buNone/>
              <a:defRPr sz="2100">
                <a:solidFill>
                  <a:schemeClr val="accent1"/>
                </a:solidFill>
                <a:latin typeface="+mj-lt"/>
              </a:defRPr>
            </a:lvl1pPr>
          </a:lstStyle>
          <a:p>
            <a:pPr lvl="0"/>
            <a:r>
              <a:rPr lang="en-US"/>
              <a:t>Section 00</a:t>
            </a:r>
          </a:p>
        </p:txBody>
      </p:sp>
      <p:sp>
        <p:nvSpPr>
          <p:cNvPr id="6" name="Subtitle 2">
            <a:extLst>
              <a:ext uri="{FF2B5EF4-FFF2-40B4-BE49-F238E27FC236}">
                <a16:creationId xmlns:a16="http://schemas.microsoft.com/office/drawing/2014/main" id="{2EAC985E-60C7-9CCC-4E69-91F96197CE3B}"/>
              </a:ext>
            </a:extLst>
          </p:cNvPr>
          <p:cNvSpPr>
            <a:spLocks noGrp="1"/>
          </p:cNvSpPr>
          <p:nvPr>
            <p:ph type="subTitle" idx="1"/>
          </p:nvPr>
        </p:nvSpPr>
        <p:spPr>
          <a:xfrm>
            <a:off x="1446213" y="4176319"/>
            <a:ext cx="8940800" cy="941596"/>
          </a:xfrm>
        </p:spPr>
        <p:txBody>
          <a:bodyPr/>
          <a:lstStyle>
            <a:lvl1pPr marL="0" indent="0" algn="l">
              <a:buNone/>
              <a:defRPr sz="2400">
                <a:solidFill>
                  <a:schemeClr val="accent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545951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ong Segue Sky">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69F11427-BF8E-9C4B-8FF2-DBE37EBA0B06}"/>
              </a:ext>
            </a:extLst>
          </p:cNvPr>
          <p:cNvSpPr/>
          <p:nvPr/>
        </p:nvSpPr>
        <p:spPr>
          <a:xfrm>
            <a:off x="0" y="0"/>
            <a:ext cx="11688451" cy="5854259"/>
          </a:xfrm>
          <a:custGeom>
            <a:avLst/>
            <a:gdLst>
              <a:gd name="connsiteX0" fmla="*/ 3920070 w 11688451"/>
              <a:gd name="connsiteY0" fmla="*/ 0 h 5854259"/>
              <a:gd name="connsiteX1" fmla="*/ 3921623 w 11688451"/>
              <a:gd name="connsiteY1" fmla="*/ 0 h 5854259"/>
              <a:gd name="connsiteX2" fmla="*/ 3942361 w 11688451"/>
              <a:gd name="connsiteY2" fmla="*/ 2150 h 5854259"/>
              <a:gd name="connsiteX3" fmla="*/ 5611946 w 11688451"/>
              <a:gd name="connsiteY3" fmla="*/ 2151 h 5854259"/>
              <a:gd name="connsiteX4" fmla="*/ 5641656 w 11688451"/>
              <a:gd name="connsiteY4" fmla="*/ 2151 h 5854259"/>
              <a:gd name="connsiteX5" fmla="*/ 5641656 w 11688451"/>
              <a:gd name="connsiteY5" fmla="*/ 2154 h 5854259"/>
              <a:gd name="connsiteX6" fmla="*/ 6351359 w 11688451"/>
              <a:gd name="connsiteY6" fmla="*/ 2154 h 5854259"/>
              <a:gd name="connsiteX7" fmla="*/ 6351360 w 11688451"/>
              <a:gd name="connsiteY7" fmla="*/ 1330 h 5854259"/>
              <a:gd name="connsiteX8" fmla="*/ 6351361 w 11688451"/>
              <a:gd name="connsiteY8" fmla="*/ 173 h 5854259"/>
              <a:gd name="connsiteX9" fmla="*/ 7146741 w 11688451"/>
              <a:gd name="connsiteY9" fmla="*/ 0 h 5854259"/>
              <a:gd name="connsiteX10" fmla="*/ 7146804 w 11688451"/>
              <a:gd name="connsiteY10" fmla="*/ 7 h 5854259"/>
              <a:gd name="connsiteX11" fmla="*/ 7166212 w 11688451"/>
              <a:gd name="connsiteY11" fmla="*/ 2 h 5854259"/>
              <a:gd name="connsiteX12" fmla="*/ 7174899 w 11688451"/>
              <a:gd name="connsiteY12" fmla="*/ 0 h 5854259"/>
              <a:gd name="connsiteX13" fmla="*/ 7176452 w 11688451"/>
              <a:gd name="connsiteY13" fmla="*/ 0 h 5854259"/>
              <a:gd name="connsiteX14" fmla="*/ 7197190 w 11688451"/>
              <a:gd name="connsiteY14" fmla="*/ 2150 h 5854259"/>
              <a:gd name="connsiteX15" fmla="*/ 8866775 w 11688451"/>
              <a:gd name="connsiteY15" fmla="*/ 2151 h 5854259"/>
              <a:gd name="connsiteX16" fmla="*/ 8866775 w 11688451"/>
              <a:gd name="connsiteY16" fmla="*/ 2154 h 5854259"/>
              <a:gd name="connsiteX17" fmla="*/ 9606188 w 11688451"/>
              <a:gd name="connsiteY17" fmla="*/ 2154 h 5854259"/>
              <a:gd name="connsiteX18" fmla="*/ 9606189 w 11688451"/>
              <a:gd name="connsiteY18" fmla="*/ 1330 h 5854259"/>
              <a:gd name="connsiteX19" fmla="*/ 9606190 w 11688451"/>
              <a:gd name="connsiteY19" fmla="*/ 173 h 5854259"/>
              <a:gd name="connsiteX20" fmla="*/ 10401570 w 11688451"/>
              <a:gd name="connsiteY20" fmla="*/ 0 h 5854259"/>
              <a:gd name="connsiteX21" fmla="*/ 10422338 w 11688451"/>
              <a:gd name="connsiteY21" fmla="*/ 2154 h 5854259"/>
              <a:gd name="connsiteX22" fmla="*/ 10452711 w 11688451"/>
              <a:gd name="connsiteY22" fmla="*/ 2154 h 5854259"/>
              <a:gd name="connsiteX23" fmla="*/ 10452710 w 11688451"/>
              <a:gd name="connsiteY23" fmla="*/ 5304 h 5854259"/>
              <a:gd name="connsiteX24" fmla="*/ 10510507 w 11688451"/>
              <a:gd name="connsiteY24" fmla="*/ 11299 h 5854259"/>
              <a:gd name="connsiteX25" fmla="*/ 10795112 w 11688451"/>
              <a:gd name="connsiteY25" fmla="*/ 164653 h 5854259"/>
              <a:gd name="connsiteX26" fmla="*/ 11519436 w 11688451"/>
              <a:gd name="connsiteY26" fmla="*/ 888978 h 5854259"/>
              <a:gd name="connsiteX27" fmla="*/ 11684089 w 11688451"/>
              <a:gd name="connsiteY27" fmla="*/ 1282519 h 5854259"/>
              <a:gd name="connsiteX28" fmla="*/ 11684061 w 11688451"/>
              <a:gd name="connsiteY28" fmla="*/ 1416839 h 5854259"/>
              <a:gd name="connsiteX29" fmla="*/ 11688451 w 11688451"/>
              <a:gd name="connsiteY29" fmla="*/ 1416840 h 5854259"/>
              <a:gd name="connsiteX30" fmla="*/ 11688451 w 11688451"/>
              <a:gd name="connsiteY30" fmla="*/ 5852108 h 5854259"/>
              <a:gd name="connsiteX31" fmla="*/ 10452711 w 11688451"/>
              <a:gd name="connsiteY31" fmla="*/ 5852108 h 5854259"/>
              <a:gd name="connsiteX32" fmla="*/ 10452710 w 11688451"/>
              <a:gd name="connsiteY32" fmla="*/ 5852111 h 5854259"/>
              <a:gd name="connsiteX33" fmla="*/ 8558258 w 11688451"/>
              <a:gd name="connsiteY33" fmla="*/ 5852110 h 5854259"/>
              <a:gd name="connsiteX34" fmla="*/ 8558257 w 11688451"/>
              <a:gd name="connsiteY34" fmla="*/ 5852929 h 5854259"/>
              <a:gd name="connsiteX35" fmla="*/ 8558256 w 11688451"/>
              <a:gd name="connsiteY35" fmla="*/ 5854086 h 5854259"/>
              <a:gd name="connsiteX36" fmla="*/ 7762876 w 11688451"/>
              <a:gd name="connsiteY36" fmla="*/ 5854259 h 5854259"/>
              <a:gd name="connsiteX37" fmla="*/ 7742135 w 11688451"/>
              <a:gd name="connsiteY37" fmla="*/ 5852108 h 5854259"/>
              <a:gd name="connsiteX38" fmla="*/ 7227592 w 11688451"/>
              <a:gd name="connsiteY38" fmla="*/ 5852108 h 5854259"/>
              <a:gd name="connsiteX39" fmla="*/ 7227592 w 11688451"/>
              <a:gd name="connsiteY39" fmla="*/ 5852110 h 5854259"/>
              <a:gd name="connsiteX40" fmla="*/ 7197882 w 11688451"/>
              <a:gd name="connsiteY40" fmla="*/ 5852110 h 5854259"/>
              <a:gd name="connsiteX41" fmla="*/ 7197881 w 11688451"/>
              <a:gd name="connsiteY41" fmla="*/ 5852111 h 5854259"/>
              <a:gd name="connsiteX42" fmla="*/ 6265511 w 11688451"/>
              <a:gd name="connsiteY42" fmla="*/ 5852111 h 5854259"/>
              <a:gd name="connsiteX43" fmla="*/ 5333141 w 11688451"/>
              <a:gd name="connsiteY43" fmla="*/ 5852111 h 5854259"/>
              <a:gd name="connsiteX44" fmla="*/ 5333139 w 11688451"/>
              <a:gd name="connsiteY44" fmla="*/ 5852929 h 5854259"/>
              <a:gd name="connsiteX45" fmla="*/ 5333137 w 11688451"/>
              <a:gd name="connsiteY45" fmla="*/ 5854086 h 5854259"/>
              <a:gd name="connsiteX46" fmla="*/ 4537757 w 11688451"/>
              <a:gd name="connsiteY46" fmla="*/ 5854259 h 5854259"/>
              <a:gd name="connsiteX47" fmla="*/ 4537695 w 11688451"/>
              <a:gd name="connsiteY47" fmla="*/ 5854253 h 5854259"/>
              <a:gd name="connsiteX48" fmla="*/ 4520475 w 11688451"/>
              <a:gd name="connsiteY48" fmla="*/ 5854257 h 5854259"/>
              <a:gd name="connsiteX49" fmla="*/ 4508047 w 11688451"/>
              <a:gd name="connsiteY49" fmla="*/ 5854259 h 5854259"/>
              <a:gd name="connsiteX50" fmla="*/ 4487307 w 11688451"/>
              <a:gd name="connsiteY50" fmla="*/ 5852108 h 5854259"/>
              <a:gd name="connsiteX51" fmla="*/ 3972763 w 11688451"/>
              <a:gd name="connsiteY51" fmla="*/ 5852108 h 5854259"/>
              <a:gd name="connsiteX52" fmla="*/ 3972763 w 11688451"/>
              <a:gd name="connsiteY52" fmla="*/ 5852110 h 5854259"/>
              <a:gd name="connsiteX53" fmla="*/ 2078312 w 11688451"/>
              <a:gd name="connsiteY53" fmla="*/ 5852111 h 5854259"/>
              <a:gd name="connsiteX54" fmla="*/ 2078310 w 11688451"/>
              <a:gd name="connsiteY54" fmla="*/ 5852929 h 5854259"/>
              <a:gd name="connsiteX55" fmla="*/ 2078308 w 11688451"/>
              <a:gd name="connsiteY55" fmla="*/ 5854086 h 5854259"/>
              <a:gd name="connsiteX56" fmla="*/ 1282928 w 11688451"/>
              <a:gd name="connsiteY56" fmla="*/ 5854259 h 5854259"/>
              <a:gd name="connsiteX57" fmla="*/ 889387 w 11688451"/>
              <a:gd name="connsiteY57" fmla="*/ 5689605 h 5854259"/>
              <a:gd name="connsiteX58" fmla="*/ 165062 w 11688451"/>
              <a:gd name="connsiteY58" fmla="*/ 4965281 h 5854259"/>
              <a:gd name="connsiteX59" fmla="*/ 408 w 11688451"/>
              <a:gd name="connsiteY59" fmla="*/ 4571739 h 5854259"/>
              <a:gd name="connsiteX60" fmla="*/ 438 w 11688451"/>
              <a:gd name="connsiteY60" fmla="*/ 4437419 h 5854259"/>
              <a:gd name="connsiteX61" fmla="*/ 0 w 11688451"/>
              <a:gd name="connsiteY61" fmla="*/ 4437419 h 5854259"/>
              <a:gd name="connsiteX62" fmla="*/ 0 w 11688451"/>
              <a:gd name="connsiteY62" fmla="*/ 2151 h 5854259"/>
              <a:gd name="connsiteX63" fmla="*/ 2386827 w 11688451"/>
              <a:gd name="connsiteY63" fmla="*/ 2151 h 5854259"/>
              <a:gd name="connsiteX64" fmla="*/ 2386827 w 11688451"/>
              <a:gd name="connsiteY64" fmla="*/ 2154 h 5854259"/>
              <a:gd name="connsiteX65" fmla="*/ 3126241 w 11688451"/>
              <a:gd name="connsiteY65" fmla="*/ 2154 h 5854259"/>
              <a:gd name="connsiteX66" fmla="*/ 3126241 w 11688451"/>
              <a:gd name="connsiteY66" fmla="*/ 1330 h 5854259"/>
              <a:gd name="connsiteX67" fmla="*/ 3126243 w 11688451"/>
              <a:gd name="connsiteY67" fmla="*/ 173 h 5854259"/>
              <a:gd name="connsiteX68" fmla="*/ 3920070 w 11688451"/>
              <a:gd name="connsiteY68"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688451" h="5854259">
                <a:moveTo>
                  <a:pt x="3920070" y="0"/>
                </a:moveTo>
                <a:cubicBezTo>
                  <a:pt x="3921623" y="0"/>
                  <a:pt x="3921623" y="0"/>
                  <a:pt x="3921623" y="0"/>
                </a:cubicBezTo>
                <a:lnTo>
                  <a:pt x="3942361" y="2150"/>
                </a:lnTo>
                <a:lnTo>
                  <a:pt x="5611946" y="2151"/>
                </a:lnTo>
                <a:lnTo>
                  <a:pt x="5641656" y="2151"/>
                </a:lnTo>
                <a:lnTo>
                  <a:pt x="5641656" y="2154"/>
                </a:lnTo>
                <a:lnTo>
                  <a:pt x="6351359" y="2154"/>
                </a:lnTo>
                <a:lnTo>
                  <a:pt x="6351360" y="1330"/>
                </a:lnTo>
                <a:cubicBezTo>
                  <a:pt x="6351361" y="173"/>
                  <a:pt x="6351361" y="173"/>
                  <a:pt x="6351361" y="173"/>
                </a:cubicBezTo>
                <a:cubicBezTo>
                  <a:pt x="7146741" y="0"/>
                  <a:pt x="7146741" y="0"/>
                  <a:pt x="7146741" y="0"/>
                </a:cubicBezTo>
                <a:lnTo>
                  <a:pt x="7146804" y="7"/>
                </a:lnTo>
                <a:lnTo>
                  <a:pt x="7166212" y="2"/>
                </a:lnTo>
                <a:cubicBezTo>
                  <a:pt x="7170991" y="1"/>
                  <a:pt x="7173540" y="0"/>
                  <a:pt x="7174899" y="0"/>
                </a:cubicBezTo>
                <a:cubicBezTo>
                  <a:pt x="7176452" y="0"/>
                  <a:pt x="7176452" y="0"/>
                  <a:pt x="7176452" y="0"/>
                </a:cubicBezTo>
                <a:lnTo>
                  <a:pt x="7197190" y="2150"/>
                </a:lnTo>
                <a:lnTo>
                  <a:pt x="8866775" y="2151"/>
                </a:lnTo>
                <a:lnTo>
                  <a:pt x="8866775" y="2154"/>
                </a:lnTo>
                <a:lnTo>
                  <a:pt x="9606188" y="2154"/>
                </a:lnTo>
                <a:lnTo>
                  <a:pt x="9606189" y="1330"/>
                </a:lnTo>
                <a:cubicBezTo>
                  <a:pt x="9606190" y="173"/>
                  <a:pt x="9606190" y="173"/>
                  <a:pt x="9606190" y="173"/>
                </a:cubicBezTo>
                <a:cubicBezTo>
                  <a:pt x="10401570" y="0"/>
                  <a:pt x="10401570" y="0"/>
                  <a:pt x="10401570" y="0"/>
                </a:cubicBezTo>
                <a:lnTo>
                  <a:pt x="10422338" y="2154"/>
                </a:lnTo>
                <a:lnTo>
                  <a:pt x="10452711" y="2154"/>
                </a:lnTo>
                <a:lnTo>
                  <a:pt x="10452710" y="5304"/>
                </a:lnTo>
                <a:lnTo>
                  <a:pt x="10510507" y="11299"/>
                </a:lnTo>
                <a:cubicBezTo>
                  <a:pt x="10617278" y="33070"/>
                  <a:pt x="10716200" y="85742"/>
                  <a:pt x="10795112" y="164653"/>
                </a:cubicBezTo>
                <a:cubicBezTo>
                  <a:pt x="11519436" y="888978"/>
                  <a:pt x="11519436" y="888978"/>
                  <a:pt x="11519436" y="888978"/>
                </a:cubicBezTo>
                <a:cubicBezTo>
                  <a:pt x="11623544" y="993086"/>
                  <a:pt x="11683218" y="1134982"/>
                  <a:pt x="11684089" y="1282519"/>
                </a:cubicBezTo>
                <a:lnTo>
                  <a:pt x="11684061" y="1416839"/>
                </a:lnTo>
                <a:lnTo>
                  <a:pt x="11688451" y="1416840"/>
                </a:lnTo>
                <a:lnTo>
                  <a:pt x="11688451" y="5852108"/>
                </a:lnTo>
                <a:lnTo>
                  <a:pt x="10452711" y="5852108"/>
                </a:lnTo>
                <a:lnTo>
                  <a:pt x="10452710" y="5852111"/>
                </a:lnTo>
                <a:lnTo>
                  <a:pt x="8558258" y="5852110"/>
                </a:lnTo>
                <a:lnTo>
                  <a:pt x="8558257" y="5852929"/>
                </a:lnTo>
                <a:cubicBezTo>
                  <a:pt x="8558256" y="5854086"/>
                  <a:pt x="8558256" y="5854086"/>
                  <a:pt x="8558256" y="5854086"/>
                </a:cubicBezTo>
                <a:cubicBezTo>
                  <a:pt x="7762876" y="5854259"/>
                  <a:pt x="7762876" y="5854259"/>
                  <a:pt x="7762876" y="5854259"/>
                </a:cubicBezTo>
                <a:lnTo>
                  <a:pt x="7742135" y="5852108"/>
                </a:lnTo>
                <a:lnTo>
                  <a:pt x="7227592" y="5852108"/>
                </a:lnTo>
                <a:lnTo>
                  <a:pt x="7227592" y="5852110"/>
                </a:lnTo>
                <a:lnTo>
                  <a:pt x="7197882" y="5852110"/>
                </a:lnTo>
                <a:lnTo>
                  <a:pt x="7197881" y="5852111"/>
                </a:lnTo>
                <a:lnTo>
                  <a:pt x="6265511" y="5852111"/>
                </a:lnTo>
                <a:lnTo>
                  <a:pt x="5333141" y="5852111"/>
                </a:lnTo>
                <a:lnTo>
                  <a:pt x="5333139" y="5852929"/>
                </a:lnTo>
                <a:cubicBezTo>
                  <a:pt x="5333137" y="5854086"/>
                  <a:pt x="5333137" y="5854086"/>
                  <a:pt x="5333137" y="5854086"/>
                </a:cubicBezTo>
                <a:cubicBezTo>
                  <a:pt x="4537757" y="5854259"/>
                  <a:pt x="4537757" y="5854259"/>
                  <a:pt x="4537757" y="5854259"/>
                </a:cubicBezTo>
                <a:lnTo>
                  <a:pt x="4537695" y="5854253"/>
                </a:lnTo>
                <a:lnTo>
                  <a:pt x="4520475" y="5854257"/>
                </a:lnTo>
                <a:cubicBezTo>
                  <a:pt x="4508047" y="5854259"/>
                  <a:pt x="4508047" y="5854259"/>
                  <a:pt x="4508047" y="5854259"/>
                </a:cubicBezTo>
                <a:lnTo>
                  <a:pt x="4487307"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itle 1">
            <a:extLst>
              <a:ext uri="{FF2B5EF4-FFF2-40B4-BE49-F238E27FC236}">
                <a16:creationId xmlns:a16="http://schemas.microsoft.com/office/drawing/2014/main" id="{1923696B-E6D1-2488-5D3F-68B3F6D6D62C}"/>
              </a:ext>
            </a:extLst>
          </p:cNvPr>
          <p:cNvSpPr>
            <a:spLocks noGrp="1"/>
          </p:cNvSpPr>
          <p:nvPr>
            <p:ph type="title"/>
          </p:nvPr>
        </p:nvSpPr>
        <p:spPr>
          <a:xfrm>
            <a:off x="1446213" y="1486886"/>
            <a:ext cx="8940800" cy="2492830"/>
          </a:xfrm>
        </p:spPr>
        <p:txBody>
          <a:bodyPr anchor="ctr">
            <a:noAutofit/>
          </a:bodyPr>
          <a:lstStyle>
            <a:lvl1pPr>
              <a:lnSpc>
                <a:spcPct val="84000"/>
              </a:lnSpc>
              <a:defRPr sz="7200">
                <a:solidFill>
                  <a:schemeClr val="bg1"/>
                </a:solidFill>
              </a:defRPr>
            </a:lvl1pPr>
          </a:lstStyle>
          <a:p>
            <a:r>
              <a:rPr lang="en-US"/>
              <a:t>Click to edit Master title style</a:t>
            </a:r>
          </a:p>
        </p:txBody>
      </p:sp>
      <p:sp>
        <p:nvSpPr>
          <p:cNvPr id="8" name="Text Placeholder 25">
            <a:extLst>
              <a:ext uri="{FF2B5EF4-FFF2-40B4-BE49-F238E27FC236}">
                <a16:creationId xmlns:a16="http://schemas.microsoft.com/office/drawing/2014/main" id="{62F0885D-82A8-8F0E-A681-58B009245A25}"/>
              </a:ext>
            </a:extLst>
          </p:cNvPr>
          <p:cNvSpPr>
            <a:spLocks noGrp="1"/>
          </p:cNvSpPr>
          <p:nvPr>
            <p:ph type="body" sz="quarter" idx="15" hasCustomPrompt="1"/>
          </p:nvPr>
        </p:nvSpPr>
        <p:spPr>
          <a:xfrm>
            <a:off x="1446214" y="618372"/>
            <a:ext cx="2620962" cy="397328"/>
          </a:xfrm>
          <a:prstGeom prst="rect">
            <a:avLst/>
          </a:prstGeom>
        </p:spPr>
        <p:txBody>
          <a:bodyPr/>
          <a:lstStyle>
            <a:lvl1pPr marL="0" indent="0">
              <a:buNone/>
              <a:defRPr sz="2100">
                <a:solidFill>
                  <a:schemeClr val="bg1"/>
                </a:solidFill>
                <a:latin typeface="+mj-lt"/>
              </a:defRPr>
            </a:lvl1pPr>
          </a:lstStyle>
          <a:p>
            <a:pPr lvl="0"/>
            <a:r>
              <a:rPr lang="en-US"/>
              <a:t>Section 00</a:t>
            </a:r>
          </a:p>
        </p:txBody>
      </p:sp>
      <p:sp>
        <p:nvSpPr>
          <p:cNvPr id="9" name="Subtitle 2">
            <a:extLst>
              <a:ext uri="{FF2B5EF4-FFF2-40B4-BE49-F238E27FC236}">
                <a16:creationId xmlns:a16="http://schemas.microsoft.com/office/drawing/2014/main" id="{43EBA2B0-AB72-511C-7F98-4BEEE74F266C}"/>
              </a:ext>
            </a:extLst>
          </p:cNvPr>
          <p:cNvSpPr>
            <a:spLocks noGrp="1"/>
          </p:cNvSpPr>
          <p:nvPr>
            <p:ph type="subTitle" idx="1"/>
          </p:nvPr>
        </p:nvSpPr>
        <p:spPr>
          <a:xfrm>
            <a:off x="1446213" y="4176319"/>
            <a:ext cx="8940800" cy="941596"/>
          </a:xfrm>
        </p:spPr>
        <p:txBody>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184740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ong Segue Sol">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69F11427-BF8E-9C4B-8FF2-DBE37EBA0B06}"/>
              </a:ext>
            </a:extLst>
          </p:cNvPr>
          <p:cNvSpPr/>
          <p:nvPr/>
        </p:nvSpPr>
        <p:spPr>
          <a:xfrm>
            <a:off x="0" y="0"/>
            <a:ext cx="11688451" cy="5854259"/>
          </a:xfrm>
          <a:custGeom>
            <a:avLst/>
            <a:gdLst>
              <a:gd name="connsiteX0" fmla="*/ 3920070 w 11688451"/>
              <a:gd name="connsiteY0" fmla="*/ 0 h 5854259"/>
              <a:gd name="connsiteX1" fmla="*/ 3921623 w 11688451"/>
              <a:gd name="connsiteY1" fmla="*/ 0 h 5854259"/>
              <a:gd name="connsiteX2" fmla="*/ 3942361 w 11688451"/>
              <a:gd name="connsiteY2" fmla="*/ 2150 h 5854259"/>
              <a:gd name="connsiteX3" fmla="*/ 5611946 w 11688451"/>
              <a:gd name="connsiteY3" fmla="*/ 2151 h 5854259"/>
              <a:gd name="connsiteX4" fmla="*/ 5641656 w 11688451"/>
              <a:gd name="connsiteY4" fmla="*/ 2151 h 5854259"/>
              <a:gd name="connsiteX5" fmla="*/ 5641656 w 11688451"/>
              <a:gd name="connsiteY5" fmla="*/ 2154 h 5854259"/>
              <a:gd name="connsiteX6" fmla="*/ 6351359 w 11688451"/>
              <a:gd name="connsiteY6" fmla="*/ 2154 h 5854259"/>
              <a:gd name="connsiteX7" fmla="*/ 6351360 w 11688451"/>
              <a:gd name="connsiteY7" fmla="*/ 1330 h 5854259"/>
              <a:gd name="connsiteX8" fmla="*/ 6351361 w 11688451"/>
              <a:gd name="connsiteY8" fmla="*/ 173 h 5854259"/>
              <a:gd name="connsiteX9" fmla="*/ 7146741 w 11688451"/>
              <a:gd name="connsiteY9" fmla="*/ 0 h 5854259"/>
              <a:gd name="connsiteX10" fmla="*/ 7146804 w 11688451"/>
              <a:gd name="connsiteY10" fmla="*/ 7 h 5854259"/>
              <a:gd name="connsiteX11" fmla="*/ 7166212 w 11688451"/>
              <a:gd name="connsiteY11" fmla="*/ 2 h 5854259"/>
              <a:gd name="connsiteX12" fmla="*/ 7174899 w 11688451"/>
              <a:gd name="connsiteY12" fmla="*/ 0 h 5854259"/>
              <a:gd name="connsiteX13" fmla="*/ 7176452 w 11688451"/>
              <a:gd name="connsiteY13" fmla="*/ 0 h 5854259"/>
              <a:gd name="connsiteX14" fmla="*/ 7197190 w 11688451"/>
              <a:gd name="connsiteY14" fmla="*/ 2150 h 5854259"/>
              <a:gd name="connsiteX15" fmla="*/ 8866775 w 11688451"/>
              <a:gd name="connsiteY15" fmla="*/ 2151 h 5854259"/>
              <a:gd name="connsiteX16" fmla="*/ 8866775 w 11688451"/>
              <a:gd name="connsiteY16" fmla="*/ 2154 h 5854259"/>
              <a:gd name="connsiteX17" fmla="*/ 9606188 w 11688451"/>
              <a:gd name="connsiteY17" fmla="*/ 2154 h 5854259"/>
              <a:gd name="connsiteX18" fmla="*/ 9606189 w 11688451"/>
              <a:gd name="connsiteY18" fmla="*/ 1330 h 5854259"/>
              <a:gd name="connsiteX19" fmla="*/ 9606190 w 11688451"/>
              <a:gd name="connsiteY19" fmla="*/ 173 h 5854259"/>
              <a:gd name="connsiteX20" fmla="*/ 10401570 w 11688451"/>
              <a:gd name="connsiteY20" fmla="*/ 0 h 5854259"/>
              <a:gd name="connsiteX21" fmla="*/ 10422338 w 11688451"/>
              <a:gd name="connsiteY21" fmla="*/ 2154 h 5854259"/>
              <a:gd name="connsiteX22" fmla="*/ 10452711 w 11688451"/>
              <a:gd name="connsiteY22" fmla="*/ 2154 h 5854259"/>
              <a:gd name="connsiteX23" fmla="*/ 10452710 w 11688451"/>
              <a:gd name="connsiteY23" fmla="*/ 5304 h 5854259"/>
              <a:gd name="connsiteX24" fmla="*/ 10510507 w 11688451"/>
              <a:gd name="connsiteY24" fmla="*/ 11299 h 5854259"/>
              <a:gd name="connsiteX25" fmla="*/ 10795112 w 11688451"/>
              <a:gd name="connsiteY25" fmla="*/ 164653 h 5854259"/>
              <a:gd name="connsiteX26" fmla="*/ 11519436 w 11688451"/>
              <a:gd name="connsiteY26" fmla="*/ 888978 h 5854259"/>
              <a:gd name="connsiteX27" fmla="*/ 11684089 w 11688451"/>
              <a:gd name="connsiteY27" fmla="*/ 1282519 h 5854259"/>
              <a:gd name="connsiteX28" fmla="*/ 11684061 w 11688451"/>
              <a:gd name="connsiteY28" fmla="*/ 1416839 h 5854259"/>
              <a:gd name="connsiteX29" fmla="*/ 11688451 w 11688451"/>
              <a:gd name="connsiteY29" fmla="*/ 1416840 h 5854259"/>
              <a:gd name="connsiteX30" fmla="*/ 11688451 w 11688451"/>
              <a:gd name="connsiteY30" fmla="*/ 5852108 h 5854259"/>
              <a:gd name="connsiteX31" fmla="*/ 10452711 w 11688451"/>
              <a:gd name="connsiteY31" fmla="*/ 5852108 h 5854259"/>
              <a:gd name="connsiteX32" fmla="*/ 10452710 w 11688451"/>
              <a:gd name="connsiteY32" fmla="*/ 5852111 h 5854259"/>
              <a:gd name="connsiteX33" fmla="*/ 8558258 w 11688451"/>
              <a:gd name="connsiteY33" fmla="*/ 5852110 h 5854259"/>
              <a:gd name="connsiteX34" fmla="*/ 8558257 w 11688451"/>
              <a:gd name="connsiteY34" fmla="*/ 5852929 h 5854259"/>
              <a:gd name="connsiteX35" fmla="*/ 8558256 w 11688451"/>
              <a:gd name="connsiteY35" fmla="*/ 5854086 h 5854259"/>
              <a:gd name="connsiteX36" fmla="*/ 7762876 w 11688451"/>
              <a:gd name="connsiteY36" fmla="*/ 5854259 h 5854259"/>
              <a:gd name="connsiteX37" fmla="*/ 7742135 w 11688451"/>
              <a:gd name="connsiteY37" fmla="*/ 5852108 h 5854259"/>
              <a:gd name="connsiteX38" fmla="*/ 7227592 w 11688451"/>
              <a:gd name="connsiteY38" fmla="*/ 5852108 h 5854259"/>
              <a:gd name="connsiteX39" fmla="*/ 7227592 w 11688451"/>
              <a:gd name="connsiteY39" fmla="*/ 5852110 h 5854259"/>
              <a:gd name="connsiteX40" fmla="*/ 7197882 w 11688451"/>
              <a:gd name="connsiteY40" fmla="*/ 5852110 h 5854259"/>
              <a:gd name="connsiteX41" fmla="*/ 7197881 w 11688451"/>
              <a:gd name="connsiteY41" fmla="*/ 5852111 h 5854259"/>
              <a:gd name="connsiteX42" fmla="*/ 6265511 w 11688451"/>
              <a:gd name="connsiteY42" fmla="*/ 5852111 h 5854259"/>
              <a:gd name="connsiteX43" fmla="*/ 5333141 w 11688451"/>
              <a:gd name="connsiteY43" fmla="*/ 5852111 h 5854259"/>
              <a:gd name="connsiteX44" fmla="*/ 5333139 w 11688451"/>
              <a:gd name="connsiteY44" fmla="*/ 5852929 h 5854259"/>
              <a:gd name="connsiteX45" fmla="*/ 5333137 w 11688451"/>
              <a:gd name="connsiteY45" fmla="*/ 5854086 h 5854259"/>
              <a:gd name="connsiteX46" fmla="*/ 4537757 w 11688451"/>
              <a:gd name="connsiteY46" fmla="*/ 5854259 h 5854259"/>
              <a:gd name="connsiteX47" fmla="*/ 4537695 w 11688451"/>
              <a:gd name="connsiteY47" fmla="*/ 5854253 h 5854259"/>
              <a:gd name="connsiteX48" fmla="*/ 4520475 w 11688451"/>
              <a:gd name="connsiteY48" fmla="*/ 5854257 h 5854259"/>
              <a:gd name="connsiteX49" fmla="*/ 4508047 w 11688451"/>
              <a:gd name="connsiteY49" fmla="*/ 5854259 h 5854259"/>
              <a:gd name="connsiteX50" fmla="*/ 4487307 w 11688451"/>
              <a:gd name="connsiteY50" fmla="*/ 5852108 h 5854259"/>
              <a:gd name="connsiteX51" fmla="*/ 3972763 w 11688451"/>
              <a:gd name="connsiteY51" fmla="*/ 5852108 h 5854259"/>
              <a:gd name="connsiteX52" fmla="*/ 3972763 w 11688451"/>
              <a:gd name="connsiteY52" fmla="*/ 5852110 h 5854259"/>
              <a:gd name="connsiteX53" fmla="*/ 2078312 w 11688451"/>
              <a:gd name="connsiteY53" fmla="*/ 5852111 h 5854259"/>
              <a:gd name="connsiteX54" fmla="*/ 2078310 w 11688451"/>
              <a:gd name="connsiteY54" fmla="*/ 5852929 h 5854259"/>
              <a:gd name="connsiteX55" fmla="*/ 2078308 w 11688451"/>
              <a:gd name="connsiteY55" fmla="*/ 5854086 h 5854259"/>
              <a:gd name="connsiteX56" fmla="*/ 1282928 w 11688451"/>
              <a:gd name="connsiteY56" fmla="*/ 5854259 h 5854259"/>
              <a:gd name="connsiteX57" fmla="*/ 889387 w 11688451"/>
              <a:gd name="connsiteY57" fmla="*/ 5689605 h 5854259"/>
              <a:gd name="connsiteX58" fmla="*/ 165062 w 11688451"/>
              <a:gd name="connsiteY58" fmla="*/ 4965281 h 5854259"/>
              <a:gd name="connsiteX59" fmla="*/ 408 w 11688451"/>
              <a:gd name="connsiteY59" fmla="*/ 4571739 h 5854259"/>
              <a:gd name="connsiteX60" fmla="*/ 438 w 11688451"/>
              <a:gd name="connsiteY60" fmla="*/ 4437419 h 5854259"/>
              <a:gd name="connsiteX61" fmla="*/ 0 w 11688451"/>
              <a:gd name="connsiteY61" fmla="*/ 4437419 h 5854259"/>
              <a:gd name="connsiteX62" fmla="*/ 0 w 11688451"/>
              <a:gd name="connsiteY62" fmla="*/ 2151 h 5854259"/>
              <a:gd name="connsiteX63" fmla="*/ 2386827 w 11688451"/>
              <a:gd name="connsiteY63" fmla="*/ 2151 h 5854259"/>
              <a:gd name="connsiteX64" fmla="*/ 2386827 w 11688451"/>
              <a:gd name="connsiteY64" fmla="*/ 2154 h 5854259"/>
              <a:gd name="connsiteX65" fmla="*/ 3126241 w 11688451"/>
              <a:gd name="connsiteY65" fmla="*/ 2154 h 5854259"/>
              <a:gd name="connsiteX66" fmla="*/ 3126241 w 11688451"/>
              <a:gd name="connsiteY66" fmla="*/ 1330 h 5854259"/>
              <a:gd name="connsiteX67" fmla="*/ 3126243 w 11688451"/>
              <a:gd name="connsiteY67" fmla="*/ 173 h 5854259"/>
              <a:gd name="connsiteX68" fmla="*/ 3920070 w 11688451"/>
              <a:gd name="connsiteY68"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688451" h="5854259">
                <a:moveTo>
                  <a:pt x="3920070" y="0"/>
                </a:moveTo>
                <a:cubicBezTo>
                  <a:pt x="3921623" y="0"/>
                  <a:pt x="3921623" y="0"/>
                  <a:pt x="3921623" y="0"/>
                </a:cubicBezTo>
                <a:lnTo>
                  <a:pt x="3942361" y="2150"/>
                </a:lnTo>
                <a:lnTo>
                  <a:pt x="5611946" y="2151"/>
                </a:lnTo>
                <a:lnTo>
                  <a:pt x="5641656" y="2151"/>
                </a:lnTo>
                <a:lnTo>
                  <a:pt x="5641656" y="2154"/>
                </a:lnTo>
                <a:lnTo>
                  <a:pt x="6351359" y="2154"/>
                </a:lnTo>
                <a:lnTo>
                  <a:pt x="6351360" y="1330"/>
                </a:lnTo>
                <a:cubicBezTo>
                  <a:pt x="6351361" y="173"/>
                  <a:pt x="6351361" y="173"/>
                  <a:pt x="6351361" y="173"/>
                </a:cubicBezTo>
                <a:cubicBezTo>
                  <a:pt x="7146741" y="0"/>
                  <a:pt x="7146741" y="0"/>
                  <a:pt x="7146741" y="0"/>
                </a:cubicBezTo>
                <a:lnTo>
                  <a:pt x="7146804" y="7"/>
                </a:lnTo>
                <a:lnTo>
                  <a:pt x="7166212" y="2"/>
                </a:lnTo>
                <a:cubicBezTo>
                  <a:pt x="7170991" y="1"/>
                  <a:pt x="7173540" y="0"/>
                  <a:pt x="7174899" y="0"/>
                </a:cubicBezTo>
                <a:cubicBezTo>
                  <a:pt x="7176452" y="0"/>
                  <a:pt x="7176452" y="0"/>
                  <a:pt x="7176452" y="0"/>
                </a:cubicBezTo>
                <a:lnTo>
                  <a:pt x="7197190" y="2150"/>
                </a:lnTo>
                <a:lnTo>
                  <a:pt x="8866775" y="2151"/>
                </a:lnTo>
                <a:lnTo>
                  <a:pt x="8866775" y="2154"/>
                </a:lnTo>
                <a:lnTo>
                  <a:pt x="9606188" y="2154"/>
                </a:lnTo>
                <a:lnTo>
                  <a:pt x="9606189" y="1330"/>
                </a:lnTo>
                <a:cubicBezTo>
                  <a:pt x="9606190" y="173"/>
                  <a:pt x="9606190" y="173"/>
                  <a:pt x="9606190" y="173"/>
                </a:cubicBezTo>
                <a:cubicBezTo>
                  <a:pt x="10401570" y="0"/>
                  <a:pt x="10401570" y="0"/>
                  <a:pt x="10401570" y="0"/>
                </a:cubicBezTo>
                <a:lnTo>
                  <a:pt x="10422338" y="2154"/>
                </a:lnTo>
                <a:lnTo>
                  <a:pt x="10452711" y="2154"/>
                </a:lnTo>
                <a:lnTo>
                  <a:pt x="10452710" y="5304"/>
                </a:lnTo>
                <a:lnTo>
                  <a:pt x="10510507" y="11299"/>
                </a:lnTo>
                <a:cubicBezTo>
                  <a:pt x="10617278" y="33070"/>
                  <a:pt x="10716200" y="85742"/>
                  <a:pt x="10795112" y="164653"/>
                </a:cubicBezTo>
                <a:cubicBezTo>
                  <a:pt x="11519436" y="888978"/>
                  <a:pt x="11519436" y="888978"/>
                  <a:pt x="11519436" y="888978"/>
                </a:cubicBezTo>
                <a:cubicBezTo>
                  <a:pt x="11623544" y="993086"/>
                  <a:pt x="11683218" y="1134982"/>
                  <a:pt x="11684089" y="1282519"/>
                </a:cubicBezTo>
                <a:lnTo>
                  <a:pt x="11684061" y="1416839"/>
                </a:lnTo>
                <a:lnTo>
                  <a:pt x="11688451" y="1416840"/>
                </a:lnTo>
                <a:lnTo>
                  <a:pt x="11688451" y="5852108"/>
                </a:lnTo>
                <a:lnTo>
                  <a:pt x="10452711" y="5852108"/>
                </a:lnTo>
                <a:lnTo>
                  <a:pt x="10452710" y="5852111"/>
                </a:lnTo>
                <a:lnTo>
                  <a:pt x="8558258" y="5852110"/>
                </a:lnTo>
                <a:lnTo>
                  <a:pt x="8558257" y="5852929"/>
                </a:lnTo>
                <a:cubicBezTo>
                  <a:pt x="8558256" y="5854086"/>
                  <a:pt x="8558256" y="5854086"/>
                  <a:pt x="8558256" y="5854086"/>
                </a:cubicBezTo>
                <a:cubicBezTo>
                  <a:pt x="7762876" y="5854259"/>
                  <a:pt x="7762876" y="5854259"/>
                  <a:pt x="7762876" y="5854259"/>
                </a:cubicBezTo>
                <a:lnTo>
                  <a:pt x="7742135" y="5852108"/>
                </a:lnTo>
                <a:lnTo>
                  <a:pt x="7227592" y="5852108"/>
                </a:lnTo>
                <a:lnTo>
                  <a:pt x="7227592" y="5852110"/>
                </a:lnTo>
                <a:lnTo>
                  <a:pt x="7197882" y="5852110"/>
                </a:lnTo>
                <a:lnTo>
                  <a:pt x="7197881" y="5852111"/>
                </a:lnTo>
                <a:lnTo>
                  <a:pt x="6265511" y="5852111"/>
                </a:lnTo>
                <a:lnTo>
                  <a:pt x="5333141" y="5852111"/>
                </a:lnTo>
                <a:lnTo>
                  <a:pt x="5333139" y="5852929"/>
                </a:lnTo>
                <a:cubicBezTo>
                  <a:pt x="5333137" y="5854086"/>
                  <a:pt x="5333137" y="5854086"/>
                  <a:pt x="5333137" y="5854086"/>
                </a:cubicBezTo>
                <a:cubicBezTo>
                  <a:pt x="4537757" y="5854259"/>
                  <a:pt x="4537757" y="5854259"/>
                  <a:pt x="4537757" y="5854259"/>
                </a:cubicBezTo>
                <a:lnTo>
                  <a:pt x="4537695" y="5854253"/>
                </a:lnTo>
                <a:lnTo>
                  <a:pt x="4520475" y="5854257"/>
                </a:lnTo>
                <a:cubicBezTo>
                  <a:pt x="4508047" y="5854259"/>
                  <a:pt x="4508047" y="5854259"/>
                  <a:pt x="4508047" y="5854259"/>
                </a:cubicBezTo>
                <a:lnTo>
                  <a:pt x="4487307"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0B9C111B-C4DA-DB86-B196-398891D51E4F}"/>
              </a:ext>
            </a:extLst>
          </p:cNvPr>
          <p:cNvSpPr>
            <a:spLocks noGrp="1"/>
          </p:cNvSpPr>
          <p:nvPr>
            <p:ph type="title"/>
          </p:nvPr>
        </p:nvSpPr>
        <p:spPr>
          <a:xfrm>
            <a:off x="1446213" y="1486886"/>
            <a:ext cx="8940800" cy="2492830"/>
          </a:xfrm>
        </p:spPr>
        <p:txBody>
          <a:bodyPr anchor="ctr">
            <a:noAutofit/>
          </a:bodyPr>
          <a:lstStyle>
            <a:lvl1pPr>
              <a:lnSpc>
                <a:spcPct val="84000"/>
              </a:lnSpc>
              <a:defRPr sz="7200">
                <a:solidFill>
                  <a:schemeClr val="accent1"/>
                </a:solidFill>
              </a:defRPr>
            </a:lvl1pPr>
          </a:lstStyle>
          <a:p>
            <a:r>
              <a:rPr lang="en-US"/>
              <a:t>Click to edit Master title style</a:t>
            </a:r>
          </a:p>
        </p:txBody>
      </p:sp>
      <p:sp>
        <p:nvSpPr>
          <p:cNvPr id="4" name="Text Placeholder 25">
            <a:extLst>
              <a:ext uri="{FF2B5EF4-FFF2-40B4-BE49-F238E27FC236}">
                <a16:creationId xmlns:a16="http://schemas.microsoft.com/office/drawing/2014/main" id="{A790AF06-497B-5541-6E7F-7A27B5278F82}"/>
              </a:ext>
            </a:extLst>
          </p:cNvPr>
          <p:cNvSpPr>
            <a:spLocks noGrp="1"/>
          </p:cNvSpPr>
          <p:nvPr>
            <p:ph type="body" sz="quarter" idx="15" hasCustomPrompt="1"/>
          </p:nvPr>
        </p:nvSpPr>
        <p:spPr>
          <a:xfrm>
            <a:off x="1446214" y="618372"/>
            <a:ext cx="2620962" cy="397328"/>
          </a:xfrm>
          <a:prstGeom prst="rect">
            <a:avLst/>
          </a:prstGeom>
        </p:spPr>
        <p:txBody>
          <a:bodyPr/>
          <a:lstStyle>
            <a:lvl1pPr marL="0" indent="0">
              <a:buNone/>
              <a:defRPr sz="2100">
                <a:solidFill>
                  <a:schemeClr val="accent1"/>
                </a:solidFill>
                <a:latin typeface="+mj-lt"/>
              </a:defRPr>
            </a:lvl1pPr>
          </a:lstStyle>
          <a:p>
            <a:pPr lvl="0"/>
            <a:r>
              <a:rPr lang="en-US"/>
              <a:t>Section 00</a:t>
            </a:r>
          </a:p>
        </p:txBody>
      </p:sp>
      <p:sp>
        <p:nvSpPr>
          <p:cNvPr id="6" name="Subtitle 2">
            <a:extLst>
              <a:ext uri="{FF2B5EF4-FFF2-40B4-BE49-F238E27FC236}">
                <a16:creationId xmlns:a16="http://schemas.microsoft.com/office/drawing/2014/main" id="{D18999DA-13C6-1DF9-A678-6E673FDAF67D}"/>
              </a:ext>
            </a:extLst>
          </p:cNvPr>
          <p:cNvSpPr>
            <a:spLocks noGrp="1"/>
          </p:cNvSpPr>
          <p:nvPr>
            <p:ph type="subTitle" idx="1"/>
          </p:nvPr>
        </p:nvSpPr>
        <p:spPr>
          <a:xfrm>
            <a:off x="1446213" y="4176319"/>
            <a:ext cx="8940800" cy="941596"/>
          </a:xfrm>
        </p:spPr>
        <p:txBody>
          <a:bodyPr/>
          <a:lstStyle>
            <a:lvl1pPr marL="0" indent="0" algn="l">
              <a:buNone/>
              <a:defRPr sz="240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327895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Long Segue Casia">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69F11427-BF8E-9C4B-8FF2-DBE37EBA0B06}"/>
              </a:ext>
            </a:extLst>
          </p:cNvPr>
          <p:cNvSpPr/>
          <p:nvPr/>
        </p:nvSpPr>
        <p:spPr>
          <a:xfrm>
            <a:off x="0" y="0"/>
            <a:ext cx="11688451" cy="5854259"/>
          </a:xfrm>
          <a:custGeom>
            <a:avLst/>
            <a:gdLst>
              <a:gd name="connsiteX0" fmla="*/ 3920070 w 11688451"/>
              <a:gd name="connsiteY0" fmla="*/ 0 h 5854259"/>
              <a:gd name="connsiteX1" fmla="*/ 3921623 w 11688451"/>
              <a:gd name="connsiteY1" fmla="*/ 0 h 5854259"/>
              <a:gd name="connsiteX2" fmla="*/ 3942361 w 11688451"/>
              <a:gd name="connsiteY2" fmla="*/ 2150 h 5854259"/>
              <a:gd name="connsiteX3" fmla="*/ 5611946 w 11688451"/>
              <a:gd name="connsiteY3" fmla="*/ 2151 h 5854259"/>
              <a:gd name="connsiteX4" fmla="*/ 5641656 w 11688451"/>
              <a:gd name="connsiteY4" fmla="*/ 2151 h 5854259"/>
              <a:gd name="connsiteX5" fmla="*/ 5641656 w 11688451"/>
              <a:gd name="connsiteY5" fmla="*/ 2154 h 5854259"/>
              <a:gd name="connsiteX6" fmla="*/ 6351359 w 11688451"/>
              <a:gd name="connsiteY6" fmla="*/ 2154 h 5854259"/>
              <a:gd name="connsiteX7" fmla="*/ 6351360 w 11688451"/>
              <a:gd name="connsiteY7" fmla="*/ 1330 h 5854259"/>
              <a:gd name="connsiteX8" fmla="*/ 6351361 w 11688451"/>
              <a:gd name="connsiteY8" fmla="*/ 173 h 5854259"/>
              <a:gd name="connsiteX9" fmla="*/ 7146741 w 11688451"/>
              <a:gd name="connsiteY9" fmla="*/ 0 h 5854259"/>
              <a:gd name="connsiteX10" fmla="*/ 7146804 w 11688451"/>
              <a:gd name="connsiteY10" fmla="*/ 7 h 5854259"/>
              <a:gd name="connsiteX11" fmla="*/ 7166212 w 11688451"/>
              <a:gd name="connsiteY11" fmla="*/ 2 h 5854259"/>
              <a:gd name="connsiteX12" fmla="*/ 7174899 w 11688451"/>
              <a:gd name="connsiteY12" fmla="*/ 0 h 5854259"/>
              <a:gd name="connsiteX13" fmla="*/ 7176452 w 11688451"/>
              <a:gd name="connsiteY13" fmla="*/ 0 h 5854259"/>
              <a:gd name="connsiteX14" fmla="*/ 7197190 w 11688451"/>
              <a:gd name="connsiteY14" fmla="*/ 2150 h 5854259"/>
              <a:gd name="connsiteX15" fmla="*/ 8866775 w 11688451"/>
              <a:gd name="connsiteY15" fmla="*/ 2151 h 5854259"/>
              <a:gd name="connsiteX16" fmla="*/ 8866775 w 11688451"/>
              <a:gd name="connsiteY16" fmla="*/ 2154 h 5854259"/>
              <a:gd name="connsiteX17" fmla="*/ 9606188 w 11688451"/>
              <a:gd name="connsiteY17" fmla="*/ 2154 h 5854259"/>
              <a:gd name="connsiteX18" fmla="*/ 9606189 w 11688451"/>
              <a:gd name="connsiteY18" fmla="*/ 1330 h 5854259"/>
              <a:gd name="connsiteX19" fmla="*/ 9606190 w 11688451"/>
              <a:gd name="connsiteY19" fmla="*/ 173 h 5854259"/>
              <a:gd name="connsiteX20" fmla="*/ 10401570 w 11688451"/>
              <a:gd name="connsiteY20" fmla="*/ 0 h 5854259"/>
              <a:gd name="connsiteX21" fmla="*/ 10422338 w 11688451"/>
              <a:gd name="connsiteY21" fmla="*/ 2154 h 5854259"/>
              <a:gd name="connsiteX22" fmla="*/ 10452711 w 11688451"/>
              <a:gd name="connsiteY22" fmla="*/ 2154 h 5854259"/>
              <a:gd name="connsiteX23" fmla="*/ 10452710 w 11688451"/>
              <a:gd name="connsiteY23" fmla="*/ 5304 h 5854259"/>
              <a:gd name="connsiteX24" fmla="*/ 10510507 w 11688451"/>
              <a:gd name="connsiteY24" fmla="*/ 11299 h 5854259"/>
              <a:gd name="connsiteX25" fmla="*/ 10795112 w 11688451"/>
              <a:gd name="connsiteY25" fmla="*/ 164653 h 5854259"/>
              <a:gd name="connsiteX26" fmla="*/ 11519436 w 11688451"/>
              <a:gd name="connsiteY26" fmla="*/ 888978 h 5854259"/>
              <a:gd name="connsiteX27" fmla="*/ 11684089 w 11688451"/>
              <a:gd name="connsiteY27" fmla="*/ 1282519 h 5854259"/>
              <a:gd name="connsiteX28" fmla="*/ 11684061 w 11688451"/>
              <a:gd name="connsiteY28" fmla="*/ 1416839 h 5854259"/>
              <a:gd name="connsiteX29" fmla="*/ 11688451 w 11688451"/>
              <a:gd name="connsiteY29" fmla="*/ 1416840 h 5854259"/>
              <a:gd name="connsiteX30" fmla="*/ 11688451 w 11688451"/>
              <a:gd name="connsiteY30" fmla="*/ 5852108 h 5854259"/>
              <a:gd name="connsiteX31" fmla="*/ 10452711 w 11688451"/>
              <a:gd name="connsiteY31" fmla="*/ 5852108 h 5854259"/>
              <a:gd name="connsiteX32" fmla="*/ 10452710 w 11688451"/>
              <a:gd name="connsiteY32" fmla="*/ 5852111 h 5854259"/>
              <a:gd name="connsiteX33" fmla="*/ 8558258 w 11688451"/>
              <a:gd name="connsiteY33" fmla="*/ 5852110 h 5854259"/>
              <a:gd name="connsiteX34" fmla="*/ 8558257 w 11688451"/>
              <a:gd name="connsiteY34" fmla="*/ 5852929 h 5854259"/>
              <a:gd name="connsiteX35" fmla="*/ 8558256 w 11688451"/>
              <a:gd name="connsiteY35" fmla="*/ 5854086 h 5854259"/>
              <a:gd name="connsiteX36" fmla="*/ 7762876 w 11688451"/>
              <a:gd name="connsiteY36" fmla="*/ 5854259 h 5854259"/>
              <a:gd name="connsiteX37" fmla="*/ 7742135 w 11688451"/>
              <a:gd name="connsiteY37" fmla="*/ 5852108 h 5854259"/>
              <a:gd name="connsiteX38" fmla="*/ 7227592 w 11688451"/>
              <a:gd name="connsiteY38" fmla="*/ 5852108 h 5854259"/>
              <a:gd name="connsiteX39" fmla="*/ 7227592 w 11688451"/>
              <a:gd name="connsiteY39" fmla="*/ 5852110 h 5854259"/>
              <a:gd name="connsiteX40" fmla="*/ 7197882 w 11688451"/>
              <a:gd name="connsiteY40" fmla="*/ 5852110 h 5854259"/>
              <a:gd name="connsiteX41" fmla="*/ 7197881 w 11688451"/>
              <a:gd name="connsiteY41" fmla="*/ 5852111 h 5854259"/>
              <a:gd name="connsiteX42" fmla="*/ 6265511 w 11688451"/>
              <a:gd name="connsiteY42" fmla="*/ 5852111 h 5854259"/>
              <a:gd name="connsiteX43" fmla="*/ 5333141 w 11688451"/>
              <a:gd name="connsiteY43" fmla="*/ 5852111 h 5854259"/>
              <a:gd name="connsiteX44" fmla="*/ 5333139 w 11688451"/>
              <a:gd name="connsiteY44" fmla="*/ 5852929 h 5854259"/>
              <a:gd name="connsiteX45" fmla="*/ 5333137 w 11688451"/>
              <a:gd name="connsiteY45" fmla="*/ 5854086 h 5854259"/>
              <a:gd name="connsiteX46" fmla="*/ 4537757 w 11688451"/>
              <a:gd name="connsiteY46" fmla="*/ 5854259 h 5854259"/>
              <a:gd name="connsiteX47" fmla="*/ 4537695 w 11688451"/>
              <a:gd name="connsiteY47" fmla="*/ 5854253 h 5854259"/>
              <a:gd name="connsiteX48" fmla="*/ 4520475 w 11688451"/>
              <a:gd name="connsiteY48" fmla="*/ 5854257 h 5854259"/>
              <a:gd name="connsiteX49" fmla="*/ 4508047 w 11688451"/>
              <a:gd name="connsiteY49" fmla="*/ 5854259 h 5854259"/>
              <a:gd name="connsiteX50" fmla="*/ 4487307 w 11688451"/>
              <a:gd name="connsiteY50" fmla="*/ 5852108 h 5854259"/>
              <a:gd name="connsiteX51" fmla="*/ 3972763 w 11688451"/>
              <a:gd name="connsiteY51" fmla="*/ 5852108 h 5854259"/>
              <a:gd name="connsiteX52" fmla="*/ 3972763 w 11688451"/>
              <a:gd name="connsiteY52" fmla="*/ 5852110 h 5854259"/>
              <a:gd name="connsiteX53" fmla="*/ 2078312 w 11688451"/>
              <a:gd name="connsiteY53" fmla="*/ 5852111 h 5854259"/>
              <a:gd name="connsiteX54" fmla="*/ 2078310 w 11688451"/>
              <a:gd name="connsiteY54" fmla="*/ 5852929 h 5854259"/>
              <a:gd name="connsiteX55" fmla="*/ 2078308 w 11688451"/>
              <a:gd name="connsiteY55" fmla="*/ 5854086 h 5854259"/>
              <a:gd name="connsiteX56" fmla="*/ 1282928 w 11688451"/>
              <a:gd name="connsiteY56" fmla="*/ 5854259 h 5854259"/>
              <a:gd name="connsiteX57" fmla="*/ 889387 w 11688451"/>
              <a:gd name="connsiteY57" fmla="*/ 5689605 h 5854259"/>
              <a:gd name="connsiteX58" fmla="*/ 165062 w 11688451"/>
              <a:gd name="connsiteY58" fmla="*/ 4965281 h 5854259"/>
              <a:gd name="connsiteX59" fmla="*/ 408 w 11688451"/>
              <a:gd name="connsiteY59" fmla="*/ 4571739 h 5854259"/>
              <a:gd name="connsiteX60" fmla="*/ 438 w 11688451"/>
              <a:gd name="connsiteY60" fmla="*/ 4437419 h 5854259"/>
              <a:gd name="connsiteX61" fmla="*/ 0 w 11688451"/>
              <a:gd name="connsiteY61" fmla="*/ 4437419 h 5854259"/>
              <a:gd name="connsiteX62" fmla="*/ 0 w 11688451"/>
              <a:gd name="connsiteY62" fmla="*/ 2151 h 5854259"/>
              <a:gd name="connsiteX63" fmla="*/ 2386827 w 11688451"/>
              <a:gd name="connsiteY63" fmla="*/ 2151 h 5854259"/>
              <a:gd name="connsiteX64" fmla="*/ 2386827 w 11688451"/>
              <a:gd name="connsiteY64" fmla="*/ 2154 h 5854259"/>
              <a:gd name="connsiteX65" fmla="*/ 3126241 w 11688451"/>
              <a:gd name="connsiteY65" fmla="*/ 2154 h 5854259"/>
              <a:gd name="connsiteX66" fmla="*/ 3126241 w 11688451"/>
              <a:gd name="connsiteY66" fmla="*/ 1330 h 5854259"/>
              <a:gd name="connsiteX67" fmla="*/ 3126243 w 11688451"/>
              <a:gd name="connsiteY67" fmla="*/ 173 h 5854259"/>
              <a:gd name="connsiteX68" fmla="*/ 3920070 w 11688451"/>
              <a:gd name="connsiteY68"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688451" h="5854259">
                <a:moveTo>
                  <a:pt x="3920070" y="0"/>
                </a:moveTo>
                <a:cubicBezTo>
                  <a:pt x="3921623" y="0"/>
                  <a:pt x="3921623" y="0"/>
                  <a:pt x="3921623" y="0"/>
                </a:cubicBezTo>
                <a:lnTo>
                  <a:pt x="3942361" y="2150"/>
                </a:lnTo>
                <a:lnTo>
                  <a:pt x="5611946" y="2151"/>
                </a:lnTo>
                <a:lnTo>
                  <a:pt x="5641656" y="2151"/>
                </a:lnTo>
                <a:lnTo>
                  <a:pt x="5641656" y="2154"/>
                </a:lnTo>
                <a:lnTo>
                  <a:pt x="6351359" y="2154"/>
                </a:lnTo>
                <a:lnTo>
                  <a:pt x="6351360" y="1330"/>
                </a:lnTo>
                <a:cubicBezTo>
                  <a:pt x="6351361" y="173"/>
                  <a:pt x="6351361" y="173"/>
                  <a:pt x="6351361" y="173"/>
                </a:cubicBezTo>
                <a:cubicBezTo>
                  <a:pt x="7146741" y="0"/>
                  <a:pt x="7146741" y="0"/>
                  <a:pt x="7146741" y="0"/>
                </a:cubicBezTo>
                <a:lnTo>
                  <a:pt x="7146804" y="7"/>
                </a:lnTo>
                <a:lnTo>
                  <a:pt x="7166212" y="2"/>
                </a:lnTo>
                <a:cubicBezTo>
                  <a:pt x="7170991" y="1"/>
                  <a:pt x="7173540" y="0"/>
                  <a:pt x="7174899" y="0"/>
                </a:cubicBezTo>
                <a:cubicBezTo>
                  <a:pt x="7176452" y="0"/>
                  <a:pt x="7176452" y="0"/>
                  <a:pt x="7176452" y="0"/>
                </a:cubicBezTo>
                <a:lnTo>
                  <a:pt x="7197190" y="2150"/>
                </a:lnTo>
                <a:lnTo>
                  <a:pt x="8866775" y="2151"/>
                </a:lnTo>
                <a:lnTo>
                  <a:pt x="8866775" y="2154"/>
                </a:lnTo>
                <a:lnTo>
                  <a:pt x="9606188" y="2154"/>
                </a:lnTo>
                <a:lnTo>
                  <a:pt x="9606189" y="1330"/>
                </a:lnTo>
                <a:cubicBezTo>
                  <a:pt x="9606190" y="173"/>
                  <a:pt x="9606190" y="173"/>
                  <a:pt x="9606190" y="173"/>
                </a:cubicBezTo>
                <a:cubicBezTo>
                  <a:pt x="10401570" y="0"/>
                  <a:pt x="10401570" y="0"/>
                  <a:pt x="10401570" y="0"/>
                </a:cubicBezTo>
                <a:lnTo>
                  <a:pt x="10422338" y="2154"/>
                </a:lnTo>
                <a:lnTo>
                  <a:pt x="10452711" y="2154"/>
                </a:lnTo>
                <a:lnTo>
                  <a:pt x="10452710" y="5304"/>
                </a:lnTo>
                <a:lnTo>
                  <a:pt x="10510507" y="11299"/>
                </a:lnTo>
                <a:cubicBezTo>
                  <a:pt x="10617278" y="33070"/>
                  <a:pt x="10716200" y="85742"/>
                  <a:pt x="10795112" y="164653"/>
                </a:cubicBezTo>
                <a:cubicBezTo>
                  <a:pt x="11519436" y="888978"/>
                  <a:pt x="11519436" y="888978"/>
                  <a:pt x="11519436" y="888978"/>
                </a:cubicBezTo>
                <a:cubicBezTo>
                  <a:pt x="11623544" y="993086"/>
                  <a:pt x="11683218" y="1134982"/>
                  <a:pt x="11684089" y="1282519"/>
                </a:cubicBezTo>
                <a:lnTo>
                  <a:pt x="11684061" y="1416839"/>
                </a:lnTo>
                <a:lnTo>
                  <a:pt x="11688451" y="1416840"/>
                </a:lnTo>
                <a:lnTo>
                  <a:pt x="11688451" y="5852108"/>
                </a:lnTo>
                <a:lnTo>
                  <a:pt x="10452711" y="5852108"/>
                </a:lnTo>
                <a:lnTo>
                  <a:pt x="10452710" y="5852111"/>
                </a:lnTo>
                <a:lnTo>
                  <a:pt x="8558258" y="5852110"/>
                </a:lnTo>
                <a:lnTo>
                  <a:pt x="8558257" y="5852929"/>
                </a:lnTo>
                <a:cubicBezTo>
                  <a:pt x="8558256" y="5854086"/>
                  <a:pt x="8558256" y="5854086"/>
                  <a:pt x="8558256" y="5854086"/>
                </a:cubicBezTo>
                <a:cubicBezTo>
                  <a:pt x="7762876" y="5854259"/>
                  <a:pt x="7762876" y="5854259"/>
                  <a:pt x="7762876" y="5854259"/>
                </a:cubicBezTo>
                <a:lnTo>
                  <a:pt x="7742135" y="5852108"/>
                </a:lnTo>
                <a:lnTo>
                  <a:pt x="7227592" y="5852108"/>
                </a:lnTo>
                <a:lnTo>
                  <a:pt x="7227592" y="5852110"/>
                </a:lnTo>
                <a:lnTo>
                  <a:pt x="7197882" y="5852110"/>
                </a:lnTo>
                <a:lnTo>
                  <a:pt x="7197881" y="5852111"/>
                </a:lnTo>
                <a:lnTo>
                  <a:pt x="6265511" y="5852111"/>
                </a:lnTo>
                <a:lnTo>
                  <a:pt x="5333141" y="5852111"/>
                </a:lnTo>
                <a:lnTo>
                  <a:pt x="5333139" y="5852929"/>
                </a:lnTo>
                <a:cubicBezTo>
                  <a:pt x="5333137" y="5854086"/>
                  <a:pt x="5333137" y="5854086"/>
                  <a:pt x="5333137" y="5854086"/>
                </a:cubicBezTo>
                <a:cubicBezTo>
                  <a:pt x="4537757" y="5854259"/>
                  <a:pt x="4537757" y="5854259"/>
                  <a:pt x="4537757" y="5854259"/>
                </a:cubicBezTo>
                <a:lnTo>
                  <a:pt x="4537695" y="5854253"/>
                </a:lnTo>
                <a:lnTo>
                  <a:pt x="4520475" y="5854257"/>
                </a:lnTo>
                <a:cubicBezTo>
                  <a:pt x="4508047" y="5854259"/>
                  <a:pt x="4508047" y="5854259"/>
                  <a:pt x="4508047" y="5854259"/>
                </a:cubicBezTo>
                <a:lnTo>
                  <a:pt x="4487307"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rgbClr val="8E71F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A4508AA4-21A6-A763-C113-04D0F2C3DC28}"/>
              </a:ext>
            </a:extLst>
          </p:cNvPr>
          <p:cNvSpPr>
            <a:spLocks noGrp="1"/>
          </p:cNvSpPr>
          <p:nvPr>
            <p:ph type="title"/>
          </p:nvPr>
        </p:nvSpPr>
        <p:spPr>
          <a:xfrm>
            <a:off x="1446213" y="1486886"/>
            <a:ext cx="8940800" cy="2492830"/>
          </a:xfrm>
        </p:spPr>
        <p:txBody>
          <a:bodyPr anchor="ctr">
            <a:noAutofit/>
          </a:bodyPr>
          <a:lstStyle>
            <a:lvl1pPr>
              <a:lnSpc>
                <a:spcPct val="84000"/>
              </a:lnSpc>
              <a:defRPr sz="7200">
                <a:solidFill>
                  <a:schemeClr val="bg1"/>
                </a:solidFill>
              </a:defRPr>
            </a:lvl1pPr>
          </a:lstStyle>
          <a:p>
            <a:r>
              <a:rPr lang="en-US"/>
              <a:t>Click to edit Master title style</a:t>
            </a:r>
          </a:p>
        </p:txBody>
      </p:sp>
      <p:sp>
        <p:nvSpPr>
          <p:cNvPr id="4" name="Text Placeholder 25">
            <a:extLst>
              <a:ext uri="{FF2B5EF4-FFF2-40B4-BE49-F238E27FC236}">
                <a16:creationId xmlns:a16="http://schemas.microsoft.com/office/drawing/2014/main" id="{FF5B4CC8-BCAB-B098-1C87-6C66DABB26B3}"/>
              </a:ext>
            </a:extLst>
          </p:cNvPr>
          <p:cNvSpPr>
            <a:spLocks noGrp="1"/>
          </p:cNvSpPr>
          <p:nvPr>
            <p:ph type="body" sz="quarter" idx="15" hasCustomPrompt="1"/>
          </p:nvPr>
        </p:nvSpPr>
        <p:spPr>
          <a:xfrm>
            <a:off x="1446214" y="618372"/>
            <a:ext cx="2620962" cy="397328"/>
          </a:xfrm>
          <a:prstGeom prst="rect">
            <a:avLst/>
          </a:prstGeom>
        </p:spPr>
        <p:txBody>
          <a:bodyPr/>
          <a:lstStyle>
            <a:lvl1pPr marL="0" indent="0">
              <a:buNone/>
              <a:defRPr sz="2100">
                <a:solidFill>
                  <a:schemeClr val="bg1"/>
                </a:solidFill>
                <a:latin typeface="+mj-lt"/>
              </a:defRPr>
            </a:lvl1pPr>
          </a:lstStyle>
          <a:p>
            <a:pPr lvl="0"/>
            <a:r>
              <a:rPr lang="en-US"/>
              <a:t>Section 00</a:t>
            </a:r>
          </a:p>
        </p:txBody>
      </p:sp>
      <p:sp>
        <p:nvSpPr>
          <p:cNvPr id="6" name="Subtitle 2">
            <a:extLst>
              <a:ext uri="{FF2B5EF4-FFF2-40B4-BE49-F238E27FC236}">
                <a16:creationId xmlns:a16="http://schemas.microsoft.com/office/drawing/2014/main" id="{1F68F2A6-6656-0CB8-C928-65BEF054BA97}"/>
              </a:ext>
            </a:extLst>
          </p:cNvPr>
          <p:cNvSpPr>
            <a:spLocks noGrp="1"/>
          </p:cNvSpPr>
          <p:nvPr>
            <p:ph type="subTitle" idx="1"/>
          </p:nvPr>
        </p:nvSpPr>
        <p:spPr>
          <a:xfrm>
            <a:off x="1446213" y="4176319"/>
            <a:ext cx="8940800" cy="941596"/>
          </a:xfrm>
        </p:spPr>
        <p:txBody>
          <a:bodyPr/>
          <a:lstStyle>
            <a:lvl1pPr marL="0" indent="0" algn="l">
              <a:buNone/>
              <a:defRPr sz="2400">
                <a:solidFill>
                  <a:schemeClr val="bg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2544389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ong Segue Electric Azure">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69F11427-BF8E-9C4B-8FF2-DBE37EBA0B06}"/>
              </a:ext>
            </a:extLst>
          </p:cNvPr>
          <p:cNvSpPr/>
          <p:nvPr/>
        </p:nvSpPr>
        <p:spPr>
          <a:xfrm>
            <a:off x="0" y="0"/>
            <a:ext cx="11688451" cy="5854259"/>
          </a:xfrm>
          <a:custGeom>
            <a:avLst/>
            <a:gdLst>
              <a:gd name="connsiteX0" fmla="*/ 3920070 w 11688451"/>
              <a:gd name="connsiteY0" fmla="*/ 0 h 5854259"/>
              <a:gd name="connsiteX1" fmla="*/ 3921623 w 11688451"/>
              <a:gd name="connsiteY1" fmla="*/ 0 h 5854259"/>
              <a:gd name="connsiteX2" fmla="*/ 3942361 w 11688451"/>
              <a:gd name="connsiteY2" fmla="*/ 2150 h 5854259"/>
              <a:gd name="connsiteX3" fmla="*/ 5611946 w 11688451"/>
              <a:gd name="connsiteY3" fmla="*/ 2151 h 5854259"/>
              <a:gd name="connsiteX4" fmla="*/ 5641656 w 11688451"/>
              <a:gd name="connsiteY4" fmla="*/ 2151 h 5854259"/>
              <a:gd name="connsiteX5" fmla="*/ 5641656 w 11688451"/>
              <a:gd name="connsiteY5" fmla="*/ 2154 h 5854259"/>
              <a:gd name="connsiteX6" fmla="*/ 6351359 w 11688451"/>
              <a:gd name="connsiteY6" fmla="*/ 2154 h 5854259"/>
              <a:gd name="connsiteX7" fmla="*/ 6351360 w 11688451"/>
              <a:gd name="connsiteY7" fmla="*/ 1330 h 5854259"/>
              <a:gd name="connsiteX8" fmla="*/ 6351361 w 11688451"/>
              <a:gd name="connsiteY8" fmla="*/ 173 h 5854259"/>
              <a:gd name="connsiteX9" fmla="*/ 7146741 w 11688451"/>
              <a:gd name="connsiteY9" fmla="*/ 0 h 5854259"/>
              <a:gd name="connsiteX10" fmla="*/ 7146804 w 11688451"/>
              <a:gd name="connsiteY10" fmla="*/ 7 h 5854259"/>
              <a:gd name="connsiteX11" fmla="*/ 7166212 w 11688451"/>
              <a:gd name="connsiteY11" fmla="*/ 2 h 5854259"/>
              <a:gd name="connsiteX12" fmla="*/ 7174899 w 11688451"/>
              <a:gd name="connsiteY12" fmla="*/ 0 h 5854259"/>
              <a:gd name="connsiteX13" fmla="*/ 7176452 w 11688451"/>
              <a:gd name="connsiteY13" fmla="*/ 0 h 5854259"/>
              <a:gd name="connsiteX14" fmla="*/ 7197190 w 11688451"/>
              <a:gd name="connsiteY14" fmla="*/ 2150 h 5854259"/>
              <a:gd name="connsiteX15" fmla="*/ 8866775 w 11688451"/>
              <a:gd name="connsiteY15" fmla="*/ 2151 h 5854259"/>
              <a:gd name="connsiteX16" fmla="*/ 8866775 w 11688451"/>
              <a:gd name="connsiteY16" fmla="*/ 2154 h 5854259"/>
              <a:gd name="connsiteX17" fmla="*/ 9606188 w 11688451"/>
              <a:gd name="connsiteY17" fmla="*/ 2154 h 5854259"/>
              <a:gd name="connsiteX18" fmla="*/ 9606189 w 11688451"/>
              <a:gd name="connsiteY18" fmla="*/ 1330 h 5854259"/>
              <a:gd name="connsiteX19" fmla="*/ 9606190 w 11688451"/>
              <a:gd name="connsiteY19" fmla="*/ 173 h 5854259"/>
              <a:gd name="connsiteX20" fmla="*/ 10401570 w 11688451"/>
              <a:gd name="connsiteY20" fmla="*/ 0 h 5854259"/>
              <a:gd name="connsiteX21" fmla="*/ 10422338 w 11688451"/>
              <a:gd name="connsiteY21" fmla="*/ 2154 h 5854259"/>
              <a:gd name="connsiteX22" fmla="*/ 10452711 w 11688451"/>
              <a:gd name="connsiteY22" fmla="*/ 2154 h 5854259"/>
              <a:gd name="connsiteX23" fmla="*/ 10452710 w 11688451"/>
              <a:gd name="connsiteY23" fmla="*/ 5304 h 5854259"/>
              <a:gd name="connsiteX24" fmla="*/ 10510507 w 11688451"/>
              <a:gd name="connsiteY24" fmla="*/ 11299 h 5854259"/>
              <a:gd name="connsiteX25" fmla="*/ 10795112 w 11688451"/>
              <a:gd name="connsiteY25" fmla="*/ 164653 h 5854259"/>
              <a:gd name="connsiteX26" fmla="*/ 11519436 w 11688451"/>
              <a:gd name="connsiteY26" fmla="*/ 888978 h 5854259"/>
              <a:gd name="connsiteX27" fmla="*/ 11684089 w 11688451"/>
              <a:gd name="connsiteY27" fmla="*/ 1282519 h 5854259"/>
              <a:gd name="connsiteX28" fmla="*/ 11684061 w 11688451"/>
              <a:gd name="connsiteY28" fmla="*/ 1416839 h 5854259"/>
              <a:gd name="connsiteX29" fmla="*/ 11688451 w 11688451"/>
              <a:gd name="connsiteY29" fmla="*/ 1416840 h 5854259"/>
              <a:gd name="connsiteX30" fmla="*/ 11688451 w 11688451"/>
              <a:gd name="connsiteY30" fmla="*/ 5852108 h 5854259"/>
              <a:gd name="connsiteX31" fmla="*/ 10452711 w 11688451"/>
              <a:gd name="connsiteY31" fmla="*/ 5852108 h 5854259"/>
              <a:gd name="connsiteX32" fmla="*/ 10452710 w 11688451"/>
              <a:gd name="connsiteY32" fmla="*/ 5852111 h 5854259"/>
              <a:gd name="connsiteX33" fmla="*/ 8558258 w 11688451"/>
              <a:gd name="connsiteY33" fmla="*/ 5852110 h 5854259"/>
              <a:gd name="connsiteX34" fmla="*/ 8558257 w 11688451"/>
              <a:gd name="connsiteY34" fmla="*/ 5852929 h 5854259"/>
              <a:gd name="connsiteX35" fmla="*/ 8558256 w 11688451"/>
              <a:gd name="connsiteY35" fmla="*/ 5854086 h 5854259"/>
              <a:gd name="connsiteX36" fmla="*/ 7762876 w 11688451"/>
              <a:gd name="connsiteY36" fmla="*/ 5854259 h 5854259"/>
              <a:gd name="connsiteX37" fmla="*/ 7742135 w 11688451"/>
              <a:gd name="connsiteY37" fmla="*/ 5852108 h 5854259"/>
              <a:gd name="connsiteX38" fmla="*/ 7227592 w 11688451"/>
              <a:gd name="connsiteY38" fmla="*/ 5852108 h 5854259"/>
              <a:gd name="connsiteX39" fmla="*/ 7227592 w 11688451"/>
              <a:gd name="connsiteY39" fmla="*/ 5852110 h 5854259"/>
              <a:gd name="connsiteX40" fmla="*/ 7197882 w 11688451"/>
              <a:gd name="connsiteY40" fmla="*/ 5852110 h 5854259"/>
              <a:gd name="connsiteX41" fmla="*/ 7197881 w 11688451"/>
              <a:gd name="connsiteY41" fmla="*/ 5852111 h 5854259"/>
              <a:gd name="connsiteX42" fmla="*/ 6265511 w 11688451"/>
              <a:gd name="connsiteY42" fmla="*/ 5852111 h 5854259"/>
              <a:gd name="connsiteX43" fmla="*/ 5333141 w 11688451"/>
              <a:gd name="connsiteY43" fmla="*/ 5852111 h 5854259"/>
              <a:gd name="connsiteX44" fmla="*/ 5333139 w 11688451"/>
              <a:gd name="connsiteY44" fmla="*/ 5852929 h 5854259"/>
              <a:gd name="connsiteX45" fmla="*/ 5333137 w 11688451"/>
              <a:gd name="connsiteY45" fmla="*/ 5854086 h 5854259"/>
              <a:gd name="connsiteX46" fmla="*/ 4537757 w 11688451"/>
              <a:gd name="connsiteY46" fmla="*/ 5854259 h 5854259"/>
              <a:gd name="connsiteX47" fmla="*/ 4537695 w 11688451"/>
              <a:gd name="connsiteY47" fmla="*/ 5854253 h 5854259"/>
              <a:gd name="connsiteX48" fmla="*/ 4520475 w 11688451"/>
              <a:gd name="connsiteY48" fmla="*/ 5854257 h 5854259"/>
              <a:gd name="connsiteX49" fmla="*/ 4508047 w 11688451"/>
              <a:gd name="connsiteY49" fmla="*/ 5854259 h 5854259"/>
              <a:gd name="connsiteX50" fmla="*/ 4487307 w 11688451"/>
              <a:gd name="connsiteY50" fmla="*/ 5852108 h 5854259"/>
              <a:gd name="connsiteX51" fmla="*/ 3972763 w 11688451"/>
              <a:gd name="connsiteY51" fmla="*/ 5852108 h 5854259"/>
              <a:gd name="connsiteX52" fmla="*/ 3972763 w 11688451"/>
              <a:gd name="connsiteY52" fmla="*/ 5852110 h 5854259"/>
              <a:gd name="connsiteX53" fmla="*/ 2078312 w 11688451"/>
              <a:gd name="connsiteY53" fmla="*/ 5852111 h 5854259"/>
              <a:gd name="connsiteX54" fmla="*/ 2078310 w 11688451"/>
              <a:gd name="connsiteY54" fmla="*/ 5852929 h 5854259"/>
              <a:gd name="connsiteX55" fmla="*/ 2078308 w 11688451"/>
              <a:gd name="connsiteY55" fmla="*/ 5854086 h 5854259"/>
              <a:gd name="connsiteX56" fmla="*/ 1282928 w 11688451"/>
              <a:gd name="connsiteY56" fmla="*/ 5854259 h 5854259"/>
              <a:gd name="connsiteX57" fmla="*/ 889387 w 11688451"/>
              <a:gd name="connsiteY57" fmla="*/ 5689605 h 5854259"/>
              <a:gd name="connsiteX58" fmla="*/ 165062 w 11688451"/>
              <a:gd name="connsiteY58" fmla="*/ 4965281 h 5854259"/>
              <a:gd name="connsiteX59" fmla="*/ 408 w 11688451"/>
              <a:gd name="connsiteY59" fmla="*/ 4571739 h 5854259"/>
              <a:gd name="connsiteX60" fmla="*/ 438 w 11688451"/>
              <a:gd name="connsiteY60" fmla="*/ 4437419 h 5854259"/>
              <a:gd name="connsiteX61" fmla="*/ 0 w 11688451"/>
              <a:gd name="connsiteY61" fmla="*/ 4437419 h 5854259"/>
              <a:gd name="connsiteX62" fmla="*/ 0 w 11688451"/>
              <a:gd name="connsiteY62" fmla="*/ 2151 h 5854259"/>
              <a:gd name="connsiteX63" fmla="*/ 2386827 w 11688451"/>
              <a:gd name="connsiteY63" fmla="*/ 2151 h 5854259"/>
              <a:gd name="connsiteX64" fmla="*/ 2386827 w 11688451"/>
              <a:gd name="connsiteY64" fmla="*/ 2154 h 5854259"/>
              <a:gd name="connsiteX65" fmla="*/ 3126241 w 11688451"/>
              <a:gd name="connsiteY65" fmla="*/ 2154 h 5854259"/>
              <a:gd name="connsiteX66" fmla="*/ 3126241 w 11688451"/>
              <a:gd name="connsiteY66" fmla="*/ 1330 h 5854259"/>
              <a:gd name="connsiteX67" fmla="*/ 3126243 w 11688451"/>
              <a:gd name="connsiteY67" fmla="*/ 173 h 5854259"/>
              <a:gd name="connsiteX68" fmla="*/ 3920070 w 11688451"/>
              <a:gd name="connsiteY68"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688451" h="5854259">
                <a:moveTo>
                  <a:pt x="3920070" y="0"/>
                </a:moveTo>
                <a:cubicBezTo>
                  <a:pt x="3921623" y="0"/>
                  <a:pt x="3921623" y="0"/>
                  <a:pt x="3921623" y="0"/>
                </a:cubicBezTo>
                <a:lnTo>
                  <a:pt x="3942361" y="2150"/>
                </a:lnTo>
                <a:lnTo>
                  <a:pt x="5611946" y="2151"/>
                </a:lnTo>
                <a:lnTo>
                  <a:pt x="5641656" y="2151"/>
                </a:lnTo>
                <a:lnTo>
                  <a:pt x="5641656" y="2154"/>
                </a:lnTo>
                <a:lnTo>
                  <a:pt x="6351359" y="2154"/>
                </a:lnTo>
                <a:lnTo>
                  <a:pt x="6351360" y="1330"/>
                </a:lnTo>
                <a:cubicBezTo>
                  <a:pt x="6351361" y="173"/>
                  <a:pt x="6351361" y="173"/>
                  <a:pt x="6351361" y="173"/>
                </a:cubicBezTo>
                <a:cubicBezTo>
                  <a:pt x="7146741" y="0"/>
                  <a:pt x="7146741" y="0"/>
                  <a:pt x="7146741" y="0"/>
                </a:cubicBezTo>
                <a:lnTo>
                  <a:pt x="7146804" y="7"/>
                </a:lnTo>
                <a:lnTo>
                  <a:pt x="7166212" y="2"/>
                </a:lnTo>
                <a:cubicBezTo>
                  <a:pt x="7170991" y="1"/>
                  <a:pt x="7173540" y="0"/>
                  <a:pt x="7174899" y="0"/>
                </a:cubicBezTo>
                <a:cubicBezTo>
                  <a:pt x="7176452" y="0"/>
                  <a:pt x="7176452" y="0"/>
                  <a:pt x="7176452" y="0"/>
                </a:cubicBezTo>
                <a:lnTo>
                  <a:pt x="7197190" y="2150"/>
                </a:lnTo>
                <a:lnTo>
                  <a:pt x="8866775" y="2151"/>
                </a:lnTo>
                <a:lnTo>
                  <a:pt x="8866775" y="2154"/>
                </a:lnTo>
                <a:lnTo>
                  <a:pt x="9606188" y="2154"/>
                </a:lnTo>
                <a:lnTo>
                  <a:pt x="9606189" y="1330"/>
                </a:lnTo>
                <a:cubicBezTo>
                  <a:pt x="9606190" y="173"/>
                  <a:pt x="9606190" y="173"/>
                  <a:pt x="9606190" y="173"/>
                </a:cubicBezTo>
                <a:cubicBezTo>
                  <a:pt x="10401570" y="0"/>
                  <a:pt x="10401570" y="0"/>
                  <a:pt x="10401570" y="0"/>
                </a:cubicBezTo>
                <a:lnTo>
                  <a:pt x="10422338" y="2154"/>
                </a:lnTo>
                <a:lnTo>
                  <a:pt x="10452711" y="2154"/>
                </a:lnTo>
                <a:lnTo>
                  <a:pt x="10452710" y="5304"/>
                </a:lnTo>
                <a:lnTo>
                  <a:pt x="10510507" y="11299"/>
                </a:lnTo>
                <a:cubicBezTo>
                  <a:pt x="10617278" y="33070"/>
                  <a:pt x="10716200" y="85742"/>
                  <a:pt x="10795112" y="164653"/>
                </a:cubicBezTo>
                <a:cubicBezTo>
                  <a:pt x="11519436" y="888978"/>
                  <a:pt x="11519436" y="888978"/>
                  <a:pt x="11519436" y="888978"/>
                </a:cubicBezTo>
                <a:cubicBezTo>
                  <a:pt x="11623544" y="993086"/>
                  <a:pt x="11683218" y="1134982"/>
                  <a:pt x="11684089" y="1282519"/>
                </a:cubicBezTo>
                <a:lnTo>
                  <a:pt x="11684061" y="1416839"/>
                </a:lnTo>
                <a:lnTo>
                  <a:pt x="11688451" y="1416840"/>
                </a:lnTo>
                <a:lnTo>
                  <a:pt x="11688451" y="5852108"/>
                </a:lnTo>
                <a:lnTo>
                  <a:pt x="10452711" y="5852108"/>
                </a:lnTo>
                <a:lnTo>
                  <a:pt x="10452710" y="5852111"/>
                </a:lnTo>
                <a:lnTo>
                  <a:pt x="8558258" y="5852110"/>
                </a:lnTo>
                <a:lnTo>
                  <a:pt x="8558257" y="5852929"/>
                </a:lnTo>
                <a:cubicBezTo>
                  <a:pt x="8558256" y="5854086"/>
                  <a:pt x="8558256" y="5854086"/>
                  <a:pt x="8558256" y="5854086"/>
                </a:cubicBezTo>
                <a:cubicBezTo>
                  <a:pt x="7762876" y="5854259"/>
                  <a:pt x="7762876" y="5854259"/>
                  <a:pt x="7762876" y="5854259"/>
                </a:cubicBezTo>
                <a:lnTo>
                  <a:pt x="7742135" y="5852108"/>
                </a:lnTo>
                <a:lnTo>
                  <a:pt x="7227592" y="5852108"/>
                </a:lnTo>
                <a:lnTo>
                  <a:pt x="7227592" y="5852110"/>
                </a:lnTo>
                <a:lnTo>
                  <a:pt x="7197882" y="5852110"/>
                </a:lnTo>
                <a:lnTo>
                  <a:pt x="7197881" y="5852111"/>
                </a:lnTo>
                <a:lnTo>
                  <a:pt x="6265511" y="5852111"/>
                </a:lnTo>
                <a:lnTo>
                  <a:pt x="5333141" y="5852111"/>
                </a:lnTo>
                <a:lnTo>
                  <a:pt x="5333139" y="5852929"/>
                </a:lnTo>
                <a:cubicBezTo>
                  <a:pt x="5333137" y="5854086"/>
                  <a:pt x="5333137" y="5854086"/>
                  <a:pt x="5333137" y="5854086"/>
                </a:cubicBezTo>
                <a:cubicBezTo>
                  <a:pt x="4537757" y="5854259"/>
                  <a:pt x="4537757" y="5854259"/>
                  <a:pt x="4537757" y="5854259"/>
                </a:cubicBezTo>
                <a:lnTo>
                  <a:pt x="4537695" y="5854253"/>
                </a:lnTo>
                <a:lnTo>
                  <a:pt x="4520475" y="5854257"/>
                </a:lnTo>
                <a:cubicBezTo>
                  <a:pt x="4508047" y="5854259"/>
                  <a:pt x="4508047" y="5854259"/>
                  <a:pt x="4508047" y="5854259"/>
                </a:cubicBezTo>
                <a:lnTo>
                  <a:pt x="4487307"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1">
            <a:extLst>
              <a:ext uri="{FF2B5EF4-FFF2-40B4-BE49-F238E27FC236}">
                <a16:creationId xmlns:a16="http://schemas.microsoft.com/office/drawing/2014/main" id="{E74613F8-95E1-898F-E892-A10CE92D32B3}"/>
              </a:ext>
            </a:extLst>
          </p:cNvPr>
          <p:cNvSpPr>
            <a:spLocks noGrp="1"/>
          </p:cNvSpPr>
          <p:nvPr>
            <p:ph type="title"/>
          </p:nvPr>
        </p:nvSpPr>
        <p:spPr>
          <a:xfrm>
            <a:off x="1446213" y="1486886"/>
            <a:ext cx="8940800" cy="2492830"/>
          </a:xfrm>
        </p:spPr>
        <p:txBody>
          <a:bodyPr anchor="ctr">
            <a:noAutofit/>
          </a:bodyPr>
          <a:lstStyle>
            <a:lvl1pPr>
              <a:lnSpc>
                <a:spcPct val="84000"/>
              </a:lnSpc>
              <a:defRPr sz="7200">
                <a:solidFill>
                  <a:schemeClr val="bg1"/>
                </a:solidFill>
              </a:defRPr>
            </a:lvl1pPr>
          </a:lstStyle>
          <a:p>
            <a:r>
              <a:rPr lang="en-US"/>
              <a:t>Click to edit Master title style</a:t>
            </a:r>
          </a:p>
        </p:txBody>
      </p:sp>
      <p:sp>
        <p:nvSpPr>
          <p:cNvPr id="5" name="Text Placeholder 25">
            <a:extLst>
              <a:ext uri="{FF2B5EF4-FFF2-40B4-BE49-F238E27FC236}">
                <a16:creationId xmlns:a16="http://schemas.microsoft.com/office/drawing/2014/main" id="{2BE5304D-327B-37D1-0009-A5564B1A88B3}"/>
              </a:ext>
            </a:extLst>
          </p:cNvPr>
          <p:cNvSpPr>
            <a:spLocks noGrp="1"/>
          </p:cNvSpPr>
          <p:nvPr>
            <p:ph type="body" sz="quarter" idx="15" hasCustomPrompt="1"/>
          </p:nvPr>
        </p:nvSpPr>
        <p:spPr>
          <a:xfrm>
            <a:off x="1446214" y="618372"/>
            <a:ext cx="2620962" cy="397328"/>
          </a:xfrm>
          <a:prstGeom prst="rect">
            <a:avLst/>
          </a:prstGeom>
        </p:spPr>
        <p:txBody>
          <a:bodyPr/>
          <a:lstStyle>
            <a:lvl1pPr marL="0" indent="0">
              <a:buNone/>
              <a:defRPr sz="2100">
                <a:solidFill>
                  <a:schemeClr val="bg1"/>
                </a:solidFill>
                <a:latin typeface="+mj-lt"/>
              </a:defRPr>
            </a:lvl1pPr>
          </a:lstStyle>
          <a:p>
            <a:pPr lvl="0"/>
            <a:r>
              <a:rPr lang="en-US"/>
              <a:t>Section 00</a:t>
            </a:r>
          </a:p>
        </p:txBody>
      </p:sp>
      <p:sp>
        <p:nvSpPr>
          <p:cNvPr id="6" name="Subtitle 2">
            <a:extLst>
              <a:ext uri="{FF2B5EF4-FFF2-40B4-BE49-F238E27FC236}">
                <a16:creationId xmlns:a16="http://schemas.microsoft.com/office/drawing/2014/main" id="{2E66B613-EC13-792C-8933-FE53D0C39A38}"/>
              </a:ext>
            </a:extLst>
          </p:cNvPr>
          <p:cNvSpPr>
            <a:spLocks noGrp="1"/>
          </p:cNvSpPr>
          <p:nvPr>
            <p:ph type="subTitle" idx="1"/>
          </p:nvPr>
        </p:nvSpPr>
        <p:spPr>
          <a:xfrm>
            <a:off x="1446213" y="4176319"/>
            <a:ext cx="8940800" cy="941596"/>
          </a:xfrm>
        </p:spPr>
        <p:txBody>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7514019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ong Segue Suma">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69F11427-BF8E-9C4B-8FF2-DBE37EBA0B06}"/>
              </a:ext>
            </a:extLst>
          </p:cNvPr>
          <p:cNvSpPr/>
          <p:nvPr/>
        </p:nvSpPr>
        <p:spPr>
          <a:xfrm>
            <a:off x="0" y="0"/>
            <a:ext cx="11688451" cy="5854259"/>
          </a:xfrm>
          <a:custGeom>
            <a:avLst/>
            <a:gdLst>
              <a:gd name="connsiteX0" fmla="*/ 3920070 w 11688451"/>
              <a:gd name="connsiteY0" fmla="*/ 0 h 5854259"/>
              <a:gd name="connsiteX1" fmla="*/ 3921623 w 11688451"/>
              <a:gd name="connsiteY1" fmla="*/ 0 h 5854259"/>
              <a:gd name="connsiteX2" fmla="*/ 3942361 w 11688451"/>
              <a:gd name="connsiteY2" fmla="*/ 2150 h 5854259"/>
              <a:gd name="connsiteX3" fmla="*/ 5611946 w 11688451"/>
              <a:gd name="connsiteY3" fmla="*/ 2151 h 5854259"/>
              <a:gd name="connsiteX4" fmla="*/ 5641656 w 11688451"/>
              <a:gd name="connsiteY4" fmla="*/ 2151 h 5854259"/>
              <a:gd name="connsiteX5" fmla="*/ 5641656 w 11688451"/>
              <a:gd name="connsiteY5" fmla="*/ 2154 h 5854259"/>
              <a:gd name="connsiteX6" fmla="*/ 6351359 w 11688451"/>
              <a:gd name="connsiteY6" fmla="*/ 2154 h 5854259"/>
              <a:gd name="connsiteX7" fmla="*/ 6351360 w 11688451"/>
              <a:gd name="connsiteY7" fmla="*/ 1330 h 5854259"/>
              <a:gd name="connsiteX8" fmla="*/ 6351361 w 11688451"/>
              <a:gd name="connsiteY8" fmla="*/ 173 h 5854259"/>
              <a:gd name="connsiteX9" fmla="*/ 7146741 w 11688451"/>
              <a:gd name="connsiteY9" fmla="*/ 0 h 5854259"/>
              <a:gd name="connsiteX10" fmla="*/ 7146804 w 11688451"/>
              <a:gd name="connsiteY10" fmla="*/ 7 h 5854259"/>
              <a:gd name="connsiteX11" fmla="*/ 7166212 w 11688451"/>
              <a:gd name="connsiteY11" fmla="*/ 2 h 5854259"/>
              <a:gd name="connsiteX12" fmla="*/ 7174899 w 11688451"/>
              <a:gd name="connsiteY12" fmla="*/ 0 h 5854259"/>
              <a:gd name="connsiteX13" fmla="*/ 7176452 w 11688451"/>
              <a:gd name="connsiteY13" fmla="*/ 0 h 5854259"/>
              <a:gd name="connsiteX14" fmla="*/ 7197190 w 11688451"/>
              <a:gd name="connsiteY14" fmla="*/ 2150 h 5854259"/>
              <a:gd name="connsiteX15" fmla="*/ 8866775 w 11688451"/>
              <a:gd name="connsiteY15" fmla="*/ 2151 h 5854259"/>
              <a:gd name="connsiteX16" fmla="*/ 8866775 w 11688451"/>
              <a:gd name="connsiteY16" fmla="*/ 2154 h 5854259"/>
              <a:gd name="connsiteX17" fmla="*/ 9606188 w 11688451"/>
              <a:gd name="connsiteY17" fmla="*/ 2154 h 5854259"/>
              <a:gd name="connsiteX18" fmla="*/ 9606189 w 11688451"/>
              <a:gd name="connsiteY18" fmla="*/ 1330 h 5854259"/>
              <a:gd name="connsiteX19" fmla="*/ 9606190 w 11688451"/>
              <a:gd name="connsiteY19" fmla="*/ 173 h 5854259"/>
              <a:gd name="connsiteX20" fmla="*/ 10401570 w 11688451"/>
              <a:gd name="connsiteY20" fmla="*/ 0 h 5854259"/>
              <a:gd name="connsiteX21" fmla="*/ 10422338 w 11688451"/>
              <a:gd name="connsiteY21" fmla="*/ 2154 h 5854259"/>
              <a:gd name="connsiteX22" fmla="*/ 10452711 w 11688451"/>
              <a:gd name="connsiteY22" fmla="*/ 2154 h 5854259"/>
              <a:gd name="connsiteX23" fmla="*/ 10452710 w 11688451"/>
              <a:gd name="connsiteY23" fmla="*/ 5304 h 5854259"/>
              <a:gd name="connsiteX24" fmla="*/ 10510507 w 11688451"/>
              <a:gd name="connsiteY24" fmla="*/ 11299 h 5854259"/>
              <a:gd name="connsiteX25" fmla="*/ 10795112 w 11688451"/>
              <a:gd name="connsiteY25" fmla="*/ 164653 h 5854259"/>
              <a:gd name="connsiteX26" fmla="*/ 11519436 w 11688451"/>
              <a:gd name="connsiteY26" fmla="*/ 888978 h 5854259"/>
              <a:gd name="connsiteX27" fmla="*/ 11684089 w 11688451"/>
              <a:gd name="connsiteY27" fmla="*/ 1282519 h 5854259"/>
              <a:gd name="connsiteX28" fmla="*/ 11684061 w 11688451"/>
              <a:gd name="connsiteY28" fmla="*/ 1416839 h 5854259"/>
              <a:gd name="connsiteX29" fmla="*/ 11688451 w 11688451"/>
              <a:gd name="connsiteY29" fmla="*/ 1416840 h 5854259"/>
              <a:gd name="connsiteX30" fmla="*/ 11688451 w 11688451"/>
              <a:gd name="connsiteY30" fmla="*/ 5852108 h 5854259"/>
              <a:gd name="connsiteX31" fmla="*/ 10452711 w 11688451"/>
              <a:gd name="connsiteY31" fmla="*/ 5852108 h 5854259"/>
              <a:gd name="connsiteX32" fmla="*/ 10452710 w 11688451"/>
              <a:gd name="connsiteY32" fmla="*/ 5852111 h 5854259"/>
              <a:gd name="connsiteX33" fmla="*/ 8558258 w 11688451"/>
              <a:gd name="connsiteY33" fmla="*/ 5852110 h 5854259"/>
              <a:gd name="connsiteX34" fmla="*/ 8558257 w 11688451"/>
              <a:gd name="connsiteY34" fmla="*/ 5852929 h 5854259"/>
              <a:gd name="connsiteX35" fmla="*/ 8558256 w 11688451"/>
              <a:gd name="connsiteY35" fmla="*/ 5854086 h 5854259"/>
              <a:gd name="connsiteX36" fmla="*/ 7762876 w 11688451"/>
              <a:gd name="connsiteY36" fmla="*/ 5854259 h 5854259"/>
              <a:gd name="connsiteX37" fmla="*/ 7742135 w 11688451"/>
              <a:gd name="connsiteY37" fmla="*/ 5852108 h 5854259"/>
              <a:gd name="connsiteX38" fmla="*/ 7227592 w 11688451"/>
              <a:gd name="connsiteY38" fmla="*/ 5852108 h 5854259"/>
              <a:gd name="connsiteX39" fmla="*/ 7227592 w 11688451"/>
              <a:gd name="connsiteY39" fmla="*/ 5852110 h 5854259"/>
              <a:gd name="connsiteX40" fmla="*/ 7197882 w 11688451"/>
              <a:gd name="connsiteY40" fmla="*/ 5852110 h 5854259"/>
              <a:gd name="connsiteX41" fmla="*/ 7197881 w 11688451"/>
              <a:gd name="connsiteY41" fmla="*/ 5852111 h 5854259"/>
              <a:gd name="connsiteX42" fmla="*/ 6265511 w 11688451"/>
              <a:gd name="connsiteY42" fmla="*/ 5852111 h 5854259"/>
              <a:gd name="connsiteX43" fmla="*/ 5333141 w 11688451"/>
              <a:gd name="connsiteY43" fmla="*/ 5852111 h 5854259"/>
              <a:gd name="connsiteX44" fmla="*/ 5333139 w 11688451"/>
              <a:gd name="connsiteY44" fmla="*/ 5852929 h 5854259"/>
              <a:gd name="connsiteX45" fmla="*/ 5333137 w 11688451"/>
              <a:gd name="connsiteY45" fmla="*/ 5854086 h 5854259"/>
              <a:gd name="connsiteX46" fmla="*/ 4537757 w 11688451"/>
              <a:gd name="connsiteY46" fmla="*/ 5854259 h 5854259"/>
              <a:gd name="connsiteX47" fmla="*/ 4537695 w 11688451"/>
              <a:gd name="connsiteY47" fmla="*/ 5854253 h 5854259"/>
              <a:gd name="connsiteX48" fmla="*/ 4520475 w 11688451"/>
              <a:gd name="connsiteY48" fmla="*/ 5854257 h 5854259"/>
              <a:gd name="connsiteX49" fmla="*/ 4508047 w 11688451"/>
              <a:gd name="connsiteY49" fmla="*/ 5854259 h 5854259"/>
              <a:gd name="connsiteX50" fmla="*/ 4487307 w 11688451"/>
              <a:gd name="connsiteY50" fmla="*/ 5852108 h 5854259"/>
              <a:gd name="connsiteX51" fmla="*/ 3972763 w 11688451"/>
              <a:gd name="connsiteY51" fmla="*/ 5852108 h 5854259"/>
              <a:gd name="connsiteX52" fmla="*/ 3972763 w 11688451"/>
              <a:gd name="connsiteY52" fmla="*/ 5852110 h 5854259"/>
              <a:gd name="connsiteX53" fmla="*/ 2078312 w 11688451"/>
              <a:gd name="connsiteY53" fmla="*/ 5852111 h 5854259"/>
              <a:gd name="connsiteX54" fmla="*/ 2078310 w 11688451"/>
              <a:gd name="connsiteY54" fmla="*/ 5852929 h 5854259"/>
              <a:gd name="connsiteX55" fmla="*/ 2078308 w 11688451"/>
              <a:gd name="connsiteY55" fmla="*/ 5854086 h 5854259"/>
              <a:gd name="connsiteX56" fmla="*/ 1282928 w 11688451"/>
              <a:gd name="connsiteY56" fmla="*/ 5854259 h 5854259"/>
              <a:gd name="connsiteX57" fmla="*/ 889387 w 11688451"/>
              <a:gd name="connsiteY57" fmla="*/ 5689605 h 5854259"/>
              <a:gd name="connsiteX58" fmla="*/ 165062 w 11688451"/>
              <a:gd name="connsiteY58" fmla="*/ 4965281 h 5854259"/>
              <a:gd name="connsiteX59" fmla="*/ 408 w 11688451"/>
              <a:gd name="connsiteY59" fmla="*/ 4571739 h 5854259"/>
              <a:gd name="connsiteX60" fmla="*/ 438 w 11688451"/>
              <a:gd name="connsiteY60" fmla="*/ 4437419 h 5854259"/>
              <a:gd name="connsiteX61" fmla="*/ 0 w 11688451"/>
              <a:gd name="connsiteY61" fmla="*/ 4437419 h 5854259"/>
              <a:gd name="connsiteX62" fmla="*/ 0 w 11688451"/>
              <a:gd name="connsiteY62" fmla="*/ 2151 h 5854259"/>
              <a:gd name="connsiteX63" fmla="*/ 2386827 w 11688451"/>
              <a:gd name="connsiteY63" fmla="*/ 2151 h 5854259"/>
              <a:gd name="connsiteX64" fmla="*/ 2386827 w 11688451"/>
              <a:gd name="connsiteY64" fmla="*/ 2154 h 5854259"/>
              <a:gd name="connsiteX65" fmla="*/ 3126241 w 11688451"/>
              <a:gd name="connsiteY65" fmla="*/ 2154 h 5854259"/>
              <a:gd name="connsiteX66" fmla="*/ 3126241 w 11688451"/>
              <a:gd name="connsiteY66" fmla="*/ 1330 h 5854259"/>
              <a:gd name="connsiteX67" fmla="*/ 3126243 w 11688451"/>
              <a:gd name="connsiteY67" fmla="*/ 173 h 5854259"/>
              <a:gd name="connsiteX68" fmla="*/ 3920070 w 11688451"/>
              <a:gd name="connsiteY68"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688451" h="5854259">
                <a:moveTo>
                  <a:pt x="3920070" y="0"/>
                </a:moveTo>
                <a:cubicBezTo>
                  <a:pt x="3921623" y="0"/>
                  <a:pt x="3921623" y="0"/>
                  <a:pt x="3921623" y="0"/>
                </a:cubicBezTo>
                <a:lnTo>
                  <a:pt x="3942361" y="2150"/>
                </a:lnTo>
                <a:lnTo>
                  <a:pt x="5611946" y="2151"/>
                </a:lnTo>
                <a:lnTo>
                  <a:pt x="5641656" y="2151"/>
                </a:lnTo>
                <a:lnTo>
                  <a:pt x="5641656" y="2154"/>
                </a:lnTo>
                <a:lnTo>
                  <a:pt x="6351359" y="2154"/>
                </a:lnTo>
                <a:lnTo>
                  <a:pt x="6351360" y="1330"/>
                </a:lnTo>
                <a:cubicBezTo>
                  <a:pt x="6351361" y="173"/>
                  <a:pt x="6351361" y="173"/>
                  <a:pt x="6351361" y="173"/>
                </a:cubicBezTo>
                <a:cubicBezTo>
                  <a:pt x="7146741" y="0"/>
                  <a:pt x="7146741" y="0"/>
                  <a:pt x="7146741" y="0"/>
                </a:cubicBezTo>
                <a:lnTo>
                  <a:pt x="7146804" y="7"/>
                </a:lnTo>
                <a:lnTo>
                  <a:pt x="7166212" y="2"/>
                </a:lnTo>
                <a:cubicBezTo>
                  <a:pt x="7170991" y="1"/>
                  <a:pt x="7173540" y="0"/>
                  <a:pt x="7174899" y="0"/>
                </a:cubicBezTo>
                <a:cubicBezTo>
                  <a:pt x="7176452" y="0"/>
                  <a:pt x="7176452" y="0"/>
                  <a:pt x="7176452" y="0"/>
                </a:cubicBezTo>
                <a:lnTo>
                  <a:pt x="7197190" y="2150"/>
                </a:lnTo>
                <a:lnTo>
                  <a:pt x="8866775" y="2151"/>
                </a:lnTo>
                <a:lnTo>
                  <a:pt x="8866775" y="2154"/>
                </a:lnTo>
                <a:lnTo>
                  <a:pt x="9606188" y="2154"/>
                </a:lnTo>
                <a:lnTo>
                  <a:pt x="9606189" y="1330"/>
                </a:lnTo>
                <a:cubicBezTo>
                  <a:pt x="9606190" y="173"/>
                  <a:pt x="9606190" y="173"/>
                  <a:pt x="9606190" y="173"/>
                </a:cubicBezTo>
                <a:cubicBezTo>
                  <a:pt x="10401570" y="0"/>
                  <a:pt x="10401570" y="0"/>
                  <a:pt x="10401570" y="0"/>
                </a:cubicBezTo>
                <a:lnTo>
                  <a:pt x="10422338" y="2154"/>
                </a:lnTo>
                <a:lnTo>
                  <a:pt x="10452711" y="2154"/>
                </a:lnTo>
                <a:lnTo>
                  <a:pt x="10452710" y="5304"/>
                </a:lnTo>
                <a:lnTo>
                  <a:pt x="10510507" y="11299"/>
                </a:lnTo>
                <a:cubicBezTo>
                  <a:pt x="10617278" y="33070"/>
                  <a:pt x="10716200" y="85742"/>
                  <a:pt x="10795112" y="164653"/>
                </a:cubicBezTo>
                <a:cubicBezTo>
                  <a:pt x="11519436" y="888978"/>
                  <a:pt x="11519436" y="888978"/>
                  <a:pt x="11519436" y="888978"/>
                </a:cubicBezTo>
                <a:cubicBezTo>
                  <a:pt x="11623544" y="993086"/>
                  <a:pt x="11683218" y="1134982"/>
                  <a:pt x="11684089" y="1282519"/>
                </a:cubicBezTo>
                <a:lnTo>
                  <a:pt x="11684061" y="1416839"/>
                </a:lnTo>
                <a:lnTo>
                  <a:pt x="11688451" y="1416840"/>
                </a:lnTo>
                <a:lnTo>
                  <a:pt x="11688451" y="5852108"/>
                </a:lnTo>
                <a:lnTo>
                  <a:pt x="10452711" y="5852108"/>
                </a:lnTo>
                <a:lnTo>
                  <a:pt x="10452710" y="5852111"/>
                </a:lnTo>
                <a:lnTo>
                  <a:pt x="8558258" y="5852110"/>
                </a:lnTo>
                <a:lnTo>
                  <a:pt x="8558257" y="5852929"/>
                </a:lnTo>
                <a:cubicBezTo>
                  <a:pt x="8558256" y="5854086"/>
                  <a:pt x="8558256" y="5854086"/>
                  <a:pt x="8558256" y="5854086"/>
                </a:cubicBezTo>
                <a:cubicBezTo>
                  <a:pt x="7762876" y="5854259"/>
                  <a:pt x="7762876" y="5854259"/>
                  <a:pt x="7762876" y="5854259"/>
                </a:cubicBezTo>
                <a:lnTo>
                  <a:pt x="7742135" y="5852108"/>
                </a:lnTo>
                <a:lnTo>
                  <a:pt x="7227592" y="5852108"/>
                </a:lnTo>
                <a:lnTo>
                  <a:pt x="7227592" y="5852110"/>
                </a:lnTo>
                <a:lnTo>
                  <a:pt x="7197882" y="5852110"/>
                </a:lnTo>
                <a:lnTo>
                  <a:pt x="7197881" y="5852111"/>
                </a:lnTo>
                <a:lnTo>
                  <a:pt x="6265511" y="5852111"/>
                </a:lnTo>
                <a:lnTo>
                  <a:pt x="5333141" y="5852111"/>
                </a:lnTo>
                <a:lnTo>
                  <a:pt x="5333139" y="5852929"/>
                </a:lnTo>
                <a:cubicBezTo>
                  <a:pt x="5333137" y="5854086"/>
                  <a:pt x="5333137" y="5854086"/>
                  <a:pt x="5333137" y="5854086"/>
                </a:cubicBezTo>
                <a:cubicBezTo>
                  <a:pt x="4537757" y="5854259"/>
                  <a:pt x="4537757" y="5854259"/>
                  <a:pt x="4537757" y="5854259"/>
                </a:cubicBezTo>
                <a:lnTo>
                  <a:pt x="4537695" y="5854253"/>
                </a:lnTo>
                <a:lnTo>
                  <a:pt x="4520475" y="5854257"/>
                </a:lnTo>
                <a:cubicBezTo>
                  <a:pt x="4508047" y="5854259"/>
                  <a:pt x="4508047" y="5854259"/>
                  <a:pt x="4508047" y="5854259"/>
                </a:cubicBezTo>
                <a:lnTo>
                  <a:pt x="4487307"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rgbClr val="FE8A2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1">
            <a:extLst>
              <a:ext uri="{FF2B5EF4-FFF2-40B4-BE49-F238E27FC236}">
                <a16:creationId xmlns:a16="http://schemas.microsoft.com/office/drawing/2014/main" id="{49582F92-FD72-D592-598D-5A2C6A686C83}"/>
              </a:ext>
            </a:extLst>
          </p:cNvPr>
          <p:cNvSpPr>
            <a:spLocks noGrp="1"/>
          </p:cNvSpPr>
          <p:nvPr>
            <p:ph type="title"/>
          </p:nvPr>
        </p:nvSpPr>
        <p:spPr>
          <a:xfrm>
            <a:off x="1446213" y="1486886"/>
            <a:ext cx="8940800" cy="2492830"/>
          </a:xfrm>
        </p:spPr>
        <p:txBody>
          <a:bodyPr anchor="ctr">
            <a:noAutofit/>
          </a:bodyPr>
          <a:lstStyle>
            <a:lvl1pPr>
              <a:lnSpc>
                <a:spcPct val="84000"/>
              </a:lnSpc>
              <a:defRPr sz="7200">
                <a:solidFill>
                  <a:schemeClr val="bg1"/>
                </a:solidFill>
              </a:defRPr>
            </a:lvl1pPr>
          </a:lstStyle>
          <a:p>
            <a:r>
              <a:rPr lang="en-US"/>
              <a:t>Click to edit Master title style</a:t>
            </a:r>
          </a:p>
        </p:txBody>
      </p:sp>
      <p:sp>
        <p:nvSpPr>
          <p:cNvPr id="5" name="Text Placeholder 25">
            <a:extLst>
              <a:ext uri="{FF2B5EF4-FFF2-40B4-BE49-F238E27FC236}">
                <a16:creationId xmlns:a16="http://schemas.microsoft.com/office/drawing/2014/main" id="{A51FA575-D879-1736-3F6A-3D70E1E431D5}"/>
              </a:ext>
            </a:extLst>
          </p:cNvPr>
          <p:cNvSpPr>
            <a:spLocks noGrp="1"/>
          </p:cNvSpPr>
          <p:nvPr>
            <p:ph type="body" sz="quarter" idx="15" hasCustomPrompt="1"/>
          </p:nvPr>
        </p:nvSpPr>
        <p:spPr>
          <a:xfrm>
            <a:off x="1446214" y="618372"/>
            <a:ext cx="2620962" cy="397328"/>
          </a:xfrm>
          <a:prstGeom prst="rect">
            <a:avLst/>
          </a:prstGeom>
        </p:spPr>
        <p:txBody>
          <a:bodyPr/>
          <a:lstStyle>
            <a:lvl1pPr marL="0" indent="0">
              <a:buNone/>
              <a:defRPr sz="2100">
                <a:solidFill>
                  <a:schemeClr val="bg1"/>
                </a:solidFill>
                <a:latin typeface="+mj-lt"/>
              </a:defRPr>
            </a:lvl1pPr>
          </a:lstStyle>
          <a:p>
            <a:pPr lvl="0"/>
            <a:r>
              <a:rPr lang="en-US"/>
              <a:t>Section 00</a:t>
            </a:r>
          </a:p>
        </p:txBody>
      </p:sp>
      <p:sp>
        <p:nvSpPr>
          <p:cNvPr id="6" name="Subtitle 2">
            <a:extLst>
              <a:ext uri="{FF2B5EF4-FFF2-40B4-BE49-F238E27FC236}">
                <a16:creationId xmlns:a16="http://schemas.microsoft.com/office/drawing/2014/main" id="{943B597F-1636-E1C0-C0F7-980B564F7431}"/>
              </a:ext>
            </a:extLst>
          </p:cNvPr>
          <p:cNvSpPr>
            <a:spLocks noGrp="1"/>
          </p:cNvSpPr>
          <p:nvPr>
            <p:ph type="subTitle" idx="1"/>
          </p:nvPr>
        </p:nvSpPr>
        <p:spPr>
          <a:xfrm>
            <a:off x="1446213" y="4176319"/>
            <a:ext cx="8940800" cy="941596"/>
          </a:xfrm>
        </p:spPr>
        <p:txBody>
          <a:bodyPr/>
          <a:lstStyle>
            <a:lvl1pPr marL="0" indent="0" algn="l">
              <a:buNone/>
              <a:defRPr sz="2400">
                <a:solidFill>
                  <a:schemeClr val="bg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2169067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Long Segue Dark">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69F11427-BF8E-9C4B-8FF2-DBE37EBA0B06}"/>
              </a:ext>
            </a:extLst>
          </p:cNvPr>
          <p:cNvSpPr/>
          <p:nvPr/>
        </p:nvSpPr>
        <p:spPr>
          <a:xfrm>
            <a:off x="1" y="0"/>
            <a:ext cx="11637818" cy="5854259"/>
          </a:xfrm>
          <a:custGeom>
            <a:avLst/>
            <a:gdLst>
              <a:gd name="connsiteX0" fmla="*/ 3920070 w 11688451"/>
              <a:gd name="connsiteY0" fmla="*/ 0 h 5854259"/>
              <a:gd name="connsiteX1" fmla="*/ 3921623 w 11688451"/>
              <a:gd name="connsiteY1" fmla="*/ 0 h 5854259"/>
              <a:gd name="connsiteX2" fmla="*/ 3942361 w 11688451"/>
              <a:gd name="connsiteY2" fmla="*/ 2150 h 5854259"/>
              <a:gd name="connsiteX3" fmla="*/ 5611946 w 11688451"/>
              <a:gd name="connsiteY3" fmla="*/ 2151 h 5854259"/>
              <a:gd name="connsiteX4" fmla="*/ 5641656 w 11688451"/>
              <a:gd name="connsiteY4" fmla="*/ 2151 h 5854259"/>
              <a:gd name="connsiteX5" fmla="*/ 5641656 w 11688451"/>
              <a:gd name="connsiteY5" fmla="*/ 2154 h 5854259"/>
              <a:gd name="connsiteX6" fmla="*/ 6351359 w 11688451"/>
              <a:gd name="connsiteY6" fmla="*/ 2154 h 5854259"/>
              <a:gd name="connsiteX7" fmla="*/ 6351360 w 11688451"/>
              <a:gd name="connsiteY7" fmla="*/ 1330 h 5854259"/>
              <a:gd name="connsiteX8" fmla="*/ 6351361 w 11688451"/>
              <a:gd name="connsiteY8" fmla="*/ 173 h 5854259"/>
              <a:gd name="connsiteX9" fmla="*/ 7146741 w 11688451"/>
              <a:gd name="connsiteY9" fmla="*/ 0 h 5854259"/>
              <a:gd name="connsiteX10" fmla="*/ 7146804 w 11688451"/>
              <a:gd name="connsiteY10" fmla="*/ 7 h 5854259"/>
              <a:gd name="connsiteX11" fmla="*/ 7166212 w 11688451"/>
              <a:gd name="connsiteY11" fmla="*/ 2 h 5854259"/>
              <a:gd name="connsiteX12" fmla="*/ 7174899 w 11688451"/>
              <a:gd name="connsiteY12" fmla="*/ 0 h 5854259"/>
              <a:gd name="connsiteX13" fmla="*/ 7176452 w 11688451"/>
              <a:gd name="connsiteY13" fmla="*/ 0 h 5854259"/>
              <a:gd name="connsiteX14" fmla="*/ 7197190 w 11688451"/>
              <a:gd name="connsiteY14" fmla="*/ 2150 h 5854259"/>
              <a:gd name="connsiteX15" fmla="*/ 8866775 w 11688451"/>
              <a:gd name="connsiteY15" fmla="*/ 2151 h 5854259"/>
              <a:gd name="connsiteX16" fmla="*/ 8866775 w 11688451"/>
              <a:gd name="connsiteY16" fmla="*/ 2154 h 5854259"/>
              <a:gd name="connsiteX17" fmla="*/ 9606188 w 11688451"/>
              <a:gd name="connsiteY17" fmla="*/ 2154 h 5854259"/>
              <a:gd name="connsiteX18" fmla="*/ 9606189 w 11688451"/>
              <a:gd name="connsiteY18" fmla="*/ 1330 h 5854259"/>
              <a:gd name="connsiteX19" fmla="*/ 9606190 w 11688451"/>
              <a:gd name="connsiteY19" fmla="*/ 173 h 5854259"/>
              <a:gd name="connsiteX20" fmla="*/ 10401570 w 11688451"/>
              <a:gd name="connsiteY20" fmla="*/ 0 h 5854259"/>
              <a:gd name="connsiteX21" fmla="*/ 10422338 w 11688451"/>
              <a:gd name="connsiteY21" fmla="*/ 2154 h 5854259"/>
              <a:gd name="connsiteX22" fmla="*/ 10452711 w 11688451"/>
              <a:gd name="connsiteY22" fmla="*/ 2154 h 5854259"/>
              <a:gd name="connsiteX23" fmla="*/ 10452710 w 11688451"/>
              <a:gd name="connsiteY23" fmla="*/ 5304 h 5854259"/>
              <a:gd name="connsiteX24" fmla="*/ 10510507 w 11688451"/>
              <a:gd name="connsiteY24" fmla="*/ 11299 h 5854259"/>
              <a:gd name="connsiteX25" fmla="*/ 10795112 w 11688451"/>
              <a:gd name="connsiteY25" fmla="*/ 164653 h 5854259"/>
              <a:gd name="connsiteX26" fmla="*/ 11519436 w 11688451"/>
              <a:gd name="connsiteY26" fmla="*/ 888978 h 5854259"/>
              <a:gd name="connsiteX27" fmla="*/ 11684089 w 11688451"/>
              <a:gd name="connsiteY27" fmla="*/ 1282519 h 5854259"/>
              <a:gd name="connsiteX28" fmla="*/ 11684061 w 11688451"/>
              <a:gd name="connsiteY28" fmla="*/ 1416839 h 5854259"/>
              <a:gd name="connsiteX29" fmla="*/ 11688451 w 11688451"/>
              <a:gd name="connsiteY29" fmla="*/ 1416840 h 5854259"/>
              <a:gd name="connsiteX30" fmla="*/ 11688451 w 11688451"/>
              <a:gd name="connsiteY30" fmla="*/ 5852108 h 5854259"/>
              <a:gd name="connsiteX31" fmla="*/ 10452711 w 11688451"/>
              <a:gd name="connsiteY31" fmla="*/ 5852108 h 5854259"/>
              <a:gd name="connsiteX32" fmla="*/ 10452710 w 11688451"/>
              <a:gd name="connsiteY32" fmla="*/ 5852111 h 5854259"/>
              <a:gd name="connsiteX33" fmla="*/ 8558258 w 11688451"/>
              <a:gd name="connsiteY33" fmla="*/ 5852110 h 5854259"/>
              <a:gd name="connsiteX34" fmla="*/ 8558257 w 11688451"/>
              <a:gd name="connsiteY34" fmla="*/ 5852929 h 5854259"/>
              <a:gd name="connsiteX35" fmla="*/ 8558256 w 11688451"/>
              <a:gd name="connsiteY35" fmla="*/ 5854086 h 5854259"/>
              <a:gd name="connsiteX36" fmla="*/ 7762876 w 11688451"/>
              <a:gd name="connsiteY36" fmla="*/ 5854259 h 5854259"/>
              <a:gd name="connsiteX37" fmla="*/ 7742135 w 11688451"/>
              <a:gd name="connsiteY37" fmla="*/ 5852108 h 5854259"/>
              <a:gd name="connsiteX38" fmla="*/ 7227592 w 11688451"/>
              <a:gd name="connsiteY38" fmla="*/ 5852108 h 5854259"/>
              <a:gd name="connsiteX39" fmla="*/ 7227592 w 11688451"/>
              <a:gd name="connsiteY39" fmla="*/ 5852110 h 5854259"/>
              <a:gd name="connsiteX40" fmla="*/ 7197882 w 11688451"/>
              <a:gd name="connsiteY40" fmla="*/ 5852110 h 5854259"/>
              <a:gd name="connsiteX41" fmla="*/ 7197881 w 11688451"/>
              <a:gd name="connsiteY41" fmla="*/ 5852111 h 5854259"/>
              <a:gd name="connsiteX42" fmla="*/ 6265511 w 11688451"/>
              <a:gd name="connsiteY42" fmla="*/ 5852111 h 5854259"/>
              <a:gd name="connsiteX43" fmla="*/ 5333141 w 11688451"/>
              <a:gd name="connsiteY43" fmla="*/ 5852111 h 5854259"/>
              <a:gd name="connsiteX44" fmla="*/ 5333139 w 11688451"/>
              <a:gd name="connsiteY44" fmla="*/ 5852929 h 5854259"/>
              <a:gd name="connsiteX45" fmla="*/ 5333137 w 11688451"/>
              <a:gd name="connsiteY45" fmla="*/ 5854086 h 5854259"/>
              <a:gd name="connsiteX46" fmla="*/ 4537757 w 11688451"/>
              <a:gd name="connsiteY46" fmla="*/ 5854259 h 5854259"/>
              <a:gd name="connsiteX47" fmla="*/ 4537695 w 11688451"/>
              <a:gd name="connsiteY47" fmla="*/ 5854253 h 5854259"/>
              <a:gd name="connsiteX48" fmla="*/ 4520475 w 11688451"/>
              <a:gd name="connsiteY48" fmla="*/ 5854257 h 5854259"/>
              <a:gd name="connsiteX49" fmla="*/ 4508047 w 11688451"/>
              <a:gd name="connsiteY49" fmla="*/ 5854259 h 5854259"/>
              <a:gd name="connsiteX50" fmla="*/ 4487307 w 11688451"/>
              <a:gd name="connsiteY50" fmla="*/ 5852108 h 5854259"/>
              <a:gd name="connsiteX51" fmla="*/ 3972763 w 11688451"/>
              <a:gd name="connsiteY51" fmla="*/ 5852108 h 5854259"/>
              <a:gd name="connsiteX52" fmla="*/ 3972763 w 11688451"/>
              <a:gd name="connsiteY52" fmla="*/ 5852110 h 5854259"/>
              <a:gd name="connsiteX53" fmla="*/ 2078312 w 11688451"/>
              <a:gd name="connsiteY53" fmla="*/ 5852111 h 5854259"/>
              <a:gd name="connsiteX54" fmla="*/ 2078310 w 11688451"/>
              <a:gd name="connsiteY54" fmla="*/ 5852929 h 5854259"/>
              <a:gd name="connsiteX55" fmla="*/ 2078308 w 11688451"/>
              <a:gd name="connsiteY55" fmla="*/ 5854086 h 5854259"/>
              <a:gd name="connsiteX56" fmla="*/ 1282928 w 11688451"/>
              <a:gd name="connsiteY56" fmla="*/ 5854259 h 5854259"/>
              <a:gd name="connsiteX57" fmla="*/ 889387 w 11688451"/>
              <a:gd name="connsiteY57" fmla="*/ 5689605 h 5854259"/>
              <a:gd name="connsiteX58" fmla="*/ 165062 w 11688451"/>
              <a:gd name="connsiteY58" fmla="*/ 4965281 h 5854259"/>
              <a:gd name="connsiteX59" fmla="*/ 408 w 11688451"/>
              <a:gd name="connsiteY59" fmla="*/ 4571739 h 5854259"/>
              <a:gd name="connsiteX60" fmla="*/ 438 w 11688451"/>
              <a:gd name="connsiteY60" fmla="*/ 4437419 h 5854259"/>
              <a:gd name="connsiteX61" fmla="*/ 0 w 11688451"/>
              <a:gd name="connsiteY61" fmla="*/ 4437419 h 5854259"/>
              <a:gd name="connsiteX62" fmla="*/ 0 w 11688451"/>
              <a:gd name="connsiteY62" fmla="*/ 2151 h 5854259"/>
              <a:gd name="connsiteX63" fmla="*/ 2386827 w 11688451"/>
              <a:gd name="connsiteY63" fmla="*/ 2151 h 5854259"/>
              <a:gd name="connsiteX64" fmla="*/ 2386827 w 11688451"/>
              <a:gd name="connsiteY64" fmla="*/ 2154 h 5854259"/>
              <a:gd name="connsiteX65" fmla="*/ 3126241 w 11688451"/>
              <a:gd name="connsiteY65" fmla="*/ 2154 h 5854259"/>
              <a:gd name="connsiteX66" fmla="*/ 3126241 w 11688451"/>
              <a:gd name="connsiteY66" fmla="*/ 1330 h 5854259"/>
              <a:gd name="connsiteX67" fmla="*/ 3126243 w 11688451"/>
              <a:gd name="connsiteY67" fmla="*/ 173 h 5854259"/>
              <a:gd name="connsiteX68" fmla="*/ 3920070 w 11688451"/>
              <a:gd name="connsiteY68"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688451" h="5854259">
                <a:moveTo>
                  <a:pt x="3920070" y="0"/>
                </a:moveTo>
                <a:cubicBezTo>
                  <a:pt x="3921623" y="0"/>
                  <a:pt x="3921623" y="0"/>
                  <a:pt x="3921623" y="0"/>
                </a:cubicBezTo>
                <a:lnTo>
                  <a:pt x="3942361" y="2150"/>
                </a:lnTo>
                <a:lnTo>
                  <a:pt x="5611946" y="2151"/>
                </a:lnTo>
                <a:lnTo>
                  <a:pt x="5641656" y="2151"/>
                </a:lnTo>
                <a:lnTo>
                  <a:pt x="5641656" y="2154"/>
                </a:lnTo>
                <a:lnTo>
                  <a:pt x="6351359" y="2154"/>
                </a:lnTo>
                <a:lnTo>
                  <a:pt x="6351360" y="1330"/>
                </a:lnTo>
                <a:cubicBezTo>
                  <a:pt x="6351361" y="173"/>
                  <a:pt x="6351361" y="173"/>
                  <a:pt x="6351361" y="173"/>
                </a:cubicBezTo>
                <a:cubicBezTo>
                  <a:pt x="7146741" y="0"/>
                  <a:pt x="7146741" y="0"/>
                  <a:pt x="7146741" y="0"/>
                </a:cubicBezTo>
                <a:lnTo>
                  <a:pt x="7146804" y="7"/>
                </a:lnTo>
                <a:lnTo>
                  <a:pt x="7166212" y="2"/>
                </a:lnTo>
                <a:cubicBezTo>
                  <a:pt x="7170991" y="1"/>
                  <a:pt x="7173540" y="0"/>
                  <a:pt x="7174899" y="0"/>
                </a:cubicBezTo>
                <a:cubicBezTo>
                  <a:pt x="7176452" y="0"/>
                  <a:pt x="7176452" y="0"/>
                  <a:pt x="7176452" y="0"/>
                </a:cubicBezTo>
                <a:lnTo>
                  <a:pt x="7197190" y="2150"/>
                </a:lnTo>
                <a:lnTo>
                  <a:pt x="8866775" y="2151"/>
                </a:lnTo>
                <a:lnTo>
                  <a:pt x="8866775" y="2154"/>
                </a:lnTo>
                <a:lnTo>
                  <a:pt x="9606188" y="2154"/>
                </a:lnTo>
                <a:lnTo>
                  <a:pt x="9606189" y="1330"/>
                </a:lnTo>
                <a:cubicBezTo>
                  <a:pt x="9606190" y="173"/>
                  <a:pt x="9606190" y="173"/>
                  <a:pt x="9606190" y="173"/>
                </a:cubicBezTo>
                <a:cubicBezTo>
                  <a:pt x="10401570" y="0"/>
                  <a:pt x="10401570" y="0"/>
                  <a:pt x="10401570" y="0"/>
                </a:cubicBezTo>
                <a:lnTo>
                  <a:pt x="10422338" y="2154"/>
                </a:lnTo>
                <a:lnTo>
                  <a:pt x="10452711" y="2154"/>
                </a:lnTo>
                <a:lnTo>
                  <a:pt x="10452710" y="5304"/>
                </a:lnTo>
                <a:lnTo>
                  <a:pt x="10510507" y="11299"/>
                </a:lnTo>
                <a:cubicBezTo>
                  <a:pt x="10617278" y="33070"/>
                  <a:pt x="10716200" y="85742"/>
                  <a:pt x="10795112" y="164653"/>
                </a:cubicBezTo>
                <a:cubicBezTo>
                  <a:pt x="11519436" y="888978"/>
                  <a:pt x="11519436" y="888978"/>
                  <a:pt x="11519436" y="888978"/>
                </a:cubicBezTo>
                <a:cubicBezTo>
                  <a:pt x="11623544" y="993086"/>
                  <a:pt x="11683218" y="1134982"/>
                  <a:pt x="11684089" y="1282519"/>
                </a:cubicBezTo>
                <a:lnTo>
                  <a:pt x="11684061" y="1416839"/>
                </a:lnTo>
                <a:lnTo>
                  <a:pt x="11688451" y="1416840"/>
                </a:lnTo>
                <a:lnTo>
                  <a:pt x="11688451" y="5852108"/>
                </a:lnTo>
                <a:lnTo>
                  <a:pt x="10452711" y="5852108"/>
                </a:lnTo>
                <a:lnTo>
                  <a:pt x="10452710" y="5852111"/>
                </a:lnTo>
                <a:lnTo>
                  <a:pt x="8558258" y="5852110"/>
                </a:lnTo>
                <a:lnTo>
                  <a:pt x="8558257" y="5852929"/>
                </a:lnTo>
                <a:cubicBezTo>
                  <a:pt x="8558256" y="5854086"/>
                  <a:pt x="8558256" y="5854086"/>
                  <a:pt x="8558256" y="5854086"/>
                </a:cubicBezTo>
                <a:cubicBezTo>
                  <a:pt x="7762876" y="5854259"/>
                  <a:pt x="7762876" y="5854259"/>
                  <a:pt x="7762876" y="5854259"/>
                </a:cubicBezTo>
                <a:lnTo>
                  <a:pt x="7742135" y="5852108"/>
                </a:lnTo>
                <a:lnTo>
                  <a:pt x="7227592" y="5852108"/>
                </a:lnTo>
                <a:lnTo>
                  <a:pt x="7227592" y="5852110"/>
                </a:lnTo>
                <a:lnTo>
                  <a:pt x="7197882" y="5852110"/>
                </a:lnTo>
                <a:lnTo>
                  <a:pt x="7197881" y="5852111"/>
                </a:lnTo>
                <a:lnTo>
                  <a:pt x="6265511" y="5852111"/>
                </a:lnTo>
                <a:lnTo>
                  <a:pt x="5333141" y="5852111"/>
                </a:lnTo>
                <a:lnTo>
                  <a:pt x="5333139" y="5852929"/>
                </a:lnTo>
                <a:cubicBezTo>
                  <a:pt x="5333137" y="5854086"/>
                  <a:pt x="5333137" y="5854086"/>
                  <a:pt x="5333137" y="5854086"/>
                </a:cubicBezTo>
                <a:cubicBezTo>
                  <a:pt x="4537757" y="5854259"/>
                  <a:pt x="4537757" y="5854259"/>
                  <a:pt x="4537757" y="5854259"/>
                </a:cubicBezTo>
                <a:lnTo>
                  <a:pt x="4537695" y="5854253"/>
                </a:lnTo>
                <a:lnTo>
                  <a:pt x="4520475" y="5854257"/>
                </a:lnTo>
                <a:cubicBezTo>
                  <a:pt x="4508047" y="5854259"/>
                  <a:pt x="4508047" y="5854259"/>
                  <a:pt x="4508047" y="5854259"/>
                </a:cubicBezTo>
                <a:lnTo>
                  <a:pt x="4487307"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Title 1">
            <a:extLst>
              <a:ext uri="{FF2B5EF4-FFF2-40B4-BE49-F238E27FC236}">
                <a16:creationId xmlns:a16="http://schemas.microsoft.com/office/drawing/2014/main" id="{156672E4-A86A-B455-40ED-0F18C925D8FE}"/>
              </a:ext>
            </a:extLst>
          </p:cNvPr>
          <p:cNvSpPr>
            <a:spLocks noGrp="1"/>
          </p:cNvSpPr>
          <p:nvPr>
            <p:ph type="title"/>
          </p:nvPr>
        </p:nvSpPr>
        <p:spPr>
          <a:xfrm>
            <a:off x="1446213" y="1486886"/>
            <a:ext cx="8940800" cy="2492830"/>
          </a:xfrm>
        </p:spPr>
        <p:txBody>
          <a:bodyPr>
            <a:noAutofit/>
          </a:bodyPr>
          <a:lstStyle>
            <a:lvl1pPr>
              <a:lnSpc>
                <a:spcPct val="84000"/>
              </a:lnSpc>
              <a:defRPr sz="7200">
                <a:solidFill>
                  <a:schemeClr val="bg1"/>
                </a:solidFill>
              </a:defRPr>
            </a:lvl1pPr>
          </a:lstStyle>
          <a:p>
            <a:r>
              <a:rPr lang="en-US"/>
              <a:t>Click to edit Master title style</a:t>
            </a:r>
          </a:p>
        </p:txBody>
      </p:sp>
      <p:sp>
        <p:nvSpPr>
          <p:cNvPr id="33" name="Text Placeholder 25">
            <a:extLst>
              <a:ext uri="{FF2B5EF4-FFF2-40B4-BE49-F238E27FC236}">
                <a16:creationId xmlns:a16="http://schemas.microsoft.com/office/drawing/2014/main" id="{4DB632D8-1557-9CDA-6FA0-2693E3F44794}"/>
              </a:ext>
            </a:extLst>
          </p:cNvPr>
          <p:cNvSpPr>
            <a:spLocks noGrp="1"/>
          </p:cNvSpPr>
          <p:nvPr>
            <p:ph type="body" sz="quarter" idx="15" hasCustomPrompt="1"/>
          </p:nvPr>
        </p:nvSpPr>
        <p:spPr>
          <a:xfrm>
            <a:off x="1446214" y="618372"/>
            <a:ext cx="2620962" cy="397328"/>
          </a:xfrm>
          <a:prstGeom prst="rect">
            <a:avLst/>
          </a:prstGeom>
        </p:spPr>
        <p:txBody>
          <a:bodyPr/>
          <a:lstStyle>
            <a:lvl1pPr marL="0" indent="0">
              <a:buNone/>
              <a:defRPr sz="2100">
                <a:solidFill>
                  <a:srgbClr val="00D15F"/>
                </a:solidFill>
                <a:latin typeface="+mj-lt"/>
              </a:defRPr>
            </a:lvl1pPr>
          </a:lstStyle>
          <a:p>
            <a:pPr lvl="0"/>
            <a:r>
              <a:rPr lang="en-US"/>
              <a:t>Section 00</a:t>
            </a:r>
          </a:p>
        </p:txBody>
      </p:sp>
      <p:sp>
        <p:nvSpPr>
          <p:cNvPr id="2" name="Subtitle 2">
            <a:extLst>
              <a:ext uri="{FF2B5EF4-FFF2-40B4-BE49-F238E27FC236}">
                <a16:creationId xmlns:a16="http://schemas.microsoft.com/office/drawing/2014/main" id="{6BE7EFBE-D514-1C4D-E345-F2A2262F6AAE}"/>
              </a:ext>
            </a:extLst>
          </p:cNvPr>
          <p:cNvSpPr>
            <a:spLocks noGrp="1"/>
          </p:cNvSpPr>
          <p:nvPr>
            <p:ph type="subTitle" idx="1"/>
          </p:nvPr>
        </p:nvSpPr>
        <p:spPr>
          <a:xfrm>
            <a:off x="1446213" y="4176319"/>
            <a:ext cx="8940800" cy="941596"/>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2888955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Full Image - Title Lef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hasCustomPrompt="1"/>
          </p:nvPr>
        </p:nvSpPr>
        <p:spPr>
          <a:xfrm>
            <a:off x="0" y="0"/>
            <a:ext cx="12192000" cy="6858000"/>
          </a:xfrm>
          <a:prstGeom prst="rect">
            <a:avLst/>
          </a:prstGeom>
          <a:solidFill>
            <a:schemeClr val="bg2"/>
          </a:solidFill>
        </p:spPr>
        <p:txBody>
          <a:bodyPr anchor="t"/>
          <a:lstStyle>
            <a:lvl1pPr marL="0" indent="0" algn="ctr">
              <a:buNone/>
              <a:defRPr>
                <a:solidFill>
                  <a:schemeClr val="tx1"/>
                </a:solidFill>
              </a:defRPr>
            </a:lvl1pPr>
          </a:lstStyle>
          <a:p>
            <a:r>
              <a:rPr lang="en-US"/>
              <a:t>Please use Veeam approved images</a:t>
            </a:r>
          </a:p>
        </p:txBody>
      </p:sp>
      <p:sp>
        <p:nvSpPr>
          <p:cNvPr id="10" name="Title 1">
            <a:extLst>
              <a:ext uri="{FF2B5EF4-FFF2-40B4-BE49-F238E27FC236}">
                <a16:creationId xmlns:a16="http://schemas.microsoft.com/office/drawing/2014/main" id="{D81CCBE3-AB03-CD0A-5AFC-B2D12E0E7938}"/>
              </a:ext>
            </a:extLst>
          </p:cNvPr>
          <p:cNvSpPr>
            <a:spLocks noGrp="1"/>
          </p:cNvSpPr>
          <p:nvPr>
            <p:ph type="title"/>
          </p:nvPr>
        </p:nvSpPr>
        <p:spPr>
          <a:xfrm>
            <a:off x="1124712" y="1719072"/>
            <a:ext cx="2478024" cy="2633472"/>
          </a:xfrm>
        </p:spPr>
        <p:txBody>
          <a:bodyPr>
            <a:noAutofit/>
          </a:bodyPr>
          <a:lstStyle>
            <a:lvl1pPr>
              <a:defRPr sz="2100">
                <a:solidFill>
                  <a:schemeClr val="tx1"/>
                </a:solidFill>
              </a:defRPr>
            </a:lvl1pPr>
          </a:lstStyle>
          <a:p>
            <a:r>
              <a:rPr lang="en-US"/>
              <a:t>Click to edit Master title style</a:t>
            </a:r>
          </a:p>
        </p:txBody>
      </p:sp>
      <p:sp>
        <p:nvSpPr>
          <p:cNvPr id="7" name="Subtitle 2">
            <a:extLst>
              <a:ext uri="{FF2B5EF4-FFF2-40B4-BE49-F238E27FC236}">
                <a16:creationId xmlns:a16="http://schemas.microsoft.com/office/drawing/2014/main" id="{4CABB1D5-9F70-0790-2CA6-EED81F873C03}"/>
              </a:ext>
            </a:extLst>
          </p:cNvPr>
          <p:cNvSpPr>
            <a:spLocks noGrp="1"/>
          </p:cNvSpPr>
          <p:nvPr>
            <p:ph type="subTitle" idx="1"/>
          </p:nvPr>
        </p:nvSpPr>
        <p:spPr>
          <a:xfrm>
            <a:off x="1124711" y="4462123"/>
            <a:ext cx="2478024" cy="941596"/>
          </a:xfrm>
        </p:spPr>
        <p:txBody>
          <a:bodyPr/>
          <a:lstStyle>
            <a:lvl1pPr marL="0" indent="0" algn="l">
              <a:buNone/>
              <a:defRPr sz="1600">
                <a:solidFill>
                  <a:srgbClr val="8E71F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330CD76F-39F4-0597-9293-243C3018F268}"/>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tx2"/>
                </a:solidFill>
              </a:rPr>
              <a:t>© 2024 Veeam Software. Confidential information. All rights reserved. All trademarks are the property of their respective owners. </a:t>
            </a:r>
          </a:p>
        </p:txBody>
      </p:sp>
      <p:pic>
        <p:nvPicPr>
          <p:cNvPr id="5" name="Graphic 4">
            <a:extLst>
              <a:ext uri="{FF2B5EF4-FFF2-40B4-BE49-F238E27FC236}">
                <a16:creationId xmlns:a16="http://schemas.microsoft.com/office/drawing/2014/main" id="{2D8D5B56-E424-6128-34B3-388FDEBB2DEC}"/>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
        <p:nvSpPr>
          <p:cNvPr id="4" name="Footer Placeholder 66">
            <a:extLst>
              <a:ext uri="{FF2B5EF4-FFF2-40B4-BE49-F238E27FC236}">
                <a16:creationId xmlns:a16="http://schemas.microsoft.com/office/drawing/2014/main" id="{2F59360D-5ED1-6B3A-8664-732FAE5E978A}"/>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bg1"/>
                </a:solidFill>
              </a:defRPr>
            </a:lvl1pPr>
          </a:lstStyle>
          <a:p>
            <a:endParaRPr lang="en-US"/>
          </a:p>
        </p:txBody>
      </p:sp>
    </p:spTree>
    <p:extLst>
      <p:ext uri="{BB962C8B-B14F-4D97-AF65-F5344CB8AC3E}">
        <p14:creationId xmlns:p14="http://schemas.microsoft.com/office/powerpoint/2010/main" val="39594878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Dark Alternate">
    <p:bg>
      <p:bgPr>
        <a:solidFill>
          <a:schemeClr val="accent1"/>
        </a:solidFill>
        <a:effectLst/>
      </p:bgPr>
    </p:bg>
    <p:spTree>
      <p:nvGrpSpPr>
        <p:cNvPr id="1" name=""/>
        <p:cNvGrpSpPr/>
        <p:nvPr/>
      </p:nvGrpSpPr>
      <p:grpSpPr>
        <a:xfrm>
          <a:off x="0" y="0"/>
          <a:ext cx="0" cy="0"/>
          <a:chOff x="0" y="0"/>
          <a:chExt cx="0" cy="0"/>
        </a:xfrm>
      </p:grpSpPr>
      <p:sp>
        <p:nvSpPr>
          <p:cNvPr id="4" name="object 2">
            <a:extLst>
              <a:ext uri="{FF2B5EF4-FFF2-40B4-BE49-F238E27FC236}">
                <a16:creationId xmlns:a16="http://schemas.microsoft.com/office/drawing/2014/main" id="{25BE13E2-748B-9B64-4DA0-81DE83E1C334}"/>
              </a:ext>
            </a:extLst>
          </p:cNvPr>
          <p:cNvSpPr/>
          <p:nvPr userDrawn="1"/>
        </p:nvSpPr>
        <p:spPr>
          <a:xfrm>
            <a:off x="542689" y="2076112"/>
            <a:ext cx="543873" cy="543873"/>
          </a:xfrm>
          <a:custGeom>
            <a:avLst/>
            <a:gdLst/>
            <a:ahLst/>
            <a:cxnLst/>
            <a:rect l="l" t="t" r="r" b="b"/>
            <a:pathLst>
              <a:path w="828675" h="828675">
                <a:moveTo>
                  <a:pt x="828121" y="0"/>
                </a:moveTo>
                <a:lnTo>
                  <a:pt x="511712" y="565"/>
                </a:lnTo>
                <a:lnTo>
                  <a:pt x="468206" y="4936"/>
                </a:lnTo>
                <a:lnTo>
                  <a:pt x="426776" y="17574"/>
                </a:lnTo>
                <a:lnTo>
                  <a:pt x="388579" y="37999"/>
                </a:lnTo>
                <a:lnTo>
                  <a:pt x="354774" y="65736"/>
                </a:lnTo>
                <a:lnTo>
                  <a:pt x="65736" y="354774"/>
                </a:lnTo>
                <a:lnTo>
                  <a:pt x="38004" y="388579"/>
                </a:lnTo>
                <a:lnTo>
                  <a:pt x="17577" y="426774"/>
                </a:lnTo>
                <a:lnTo>
                  <a:pt x="4938" y="468201"/>
                </a:lnTo>
                <a:lnTo>
                  <a:pt x="565" y="511701"/>
                </a:lnTo>
                <a:lnTo>
                  <a:pt x="0" y="828110"/>
                </a:lnTo>
                <a:lnTo>
                  <a:pt x="235553" y="828110"/>
                </a:lnTo>
                <a:lnTo>
                  <a:pt x="236087" y="280776"/>
                </a:lnTo>
                <a:lnTo>
                  <a:pt x="239616" y="263356"/>
                </a:lnTo>
                <a:lnTo>
                  <a:pt x="249213" y="249132"/>
                </a:lnTo>
                <a:lnTo>
                  <a:pt x="263438" y="239540"/>
                </a:lnTo>
                <a:lnTo>
                  <a:pt x="280850" y="236013"/>
                </a:lnTo>
                <a:lnTo>
                  <a:pt x="828121" y="235553"/>
                </a:lnTo>
                <a:lnTo>
                  <a:pt x="828121" y="0"/>
                </a:lnTo>
                <a:close/>
              </a:path>
            </a:pathLst>
          </a:custGeom>
          <a:gradFill flip="none" rotWithShape="1">
            <a:gsLst>
              <a:gs pos="0">
                <a:srgbClr val="00824A"/>
              </a:gs>
              <a:gs pos="95413">
                <a:srgbClr val="96FFA1"/>
              </a:gs>
              <a:gs pos="32000">
                <a:srgbClr val="00D05D"/>
              </a:gs>
            </a:gsLst>
            <a:lin ang="8400000" scaled="0"/>
            <a:tileRect/>
          </a:gra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F5860"/>
              </a:solidFill>
              <a:effectLst/>
              <a:uLnTx/>
              <a:uFillTx/>
            </a:endParaRPr>
          </a:p>
        </p:txBody>
      </p:sp>
      <p:sp>
        <p:nvSpPr>
          <p:cNvPr id="3" name="Title 1">
            <a:extLst>
              <a:ext uri="{FF2B5EF4-FFF2-40B4-BE49-F238E27FC236}">
                <a16:creationId xmlns:a16="http://schemas.microsoft.com/office/drawing/2014/main" id="{743303A9-0E1D-04BA-1142-15F62A5FD1E3}"/>
              </a:ext>
            </a:extLst>
          </p:cNvPr>
          <p:cNvSpPr>
            <a:spLocks noGrp="1"/>
          </p:cNvSpPr>
          <p:nvPr>
            <p:ph type="title" hasCustomPrompt="1"/>
          </p:nvPr>
        </p:nvSpPr>
        <p:spPr>
          <a:xfrm>
            <a:off x="849312" y="2467915"/>
            <a:ext cx="4430065" cy="1232645"/>
          </a:xfrm>
        </p:spPr>
        <p:txBody>
          <a:bodyPr wrap="square" anchor="t">
            <a:noAutofit/>
          </a:bodyPr>
          <a:lstStyle>
            <a:lvl1pPr algn="l">
              <a:defRPr sz="8900" spc="-300">
                <a:solidFill>
                  <a:schemeClr val="bg1"/>
                </a:solidFill>
                <a:latin typeface="+mj-lt"/>
              </a:defRPr>
            </a:lvl1pPr>
          </a:lstStyle>
          <a:p>
            <a:r>
              <a:rPr lang="en-US"/>
              <a:t>Agenda</a:t>
            </a:r>
          </a:p>
        </p:txBody>
      </p:sp>
      <p:sp>
        <p:nvSpPr>
          <p:cNvPr id="5" name="Text Placeholder 6">
            <a:extLst>
              <a:ext uri="{FF2B5EF4-FFF2-40B4-BE49-F238E27FC236}">
                <a16:creationId xmlns:a16="http://schemas.microsoft.com/office/drawing/2014/main" id="{D11EB223-BC68-B891-0859-10B1FA954C7E}"/>
              </a:ext>
            </a:extLst>
          </p:cNvPr>
          <p:cNvSpPr>
            <a:spLocks noGrp="1"/>
          </p:cNvSpPr>
          <p:nvPr>
            <p:ph type="body" sz="quarter" idx="28"/>
          </p:nvPr>
        </p:nvSpPr>
        <p:spPr>
          <a:xfrm>
            <a:off x="6572251" y="688975"/>
            <a:ext cx="5124450" cy="5480050"/>
          </a:xfrm>
        </p:spPr>
        <p:txBody>
          <a:bodyPr anchor="ctr"/>
          <a:lstStyle>
            <a:lvl1pPr marL="346075" indent="-346075">
              <a:lnSpc>
                <a:spcPct val="89000"/>
              </a:lnSpc>
              <a:buClr>
                <a:srgbClr val="8E71F4"/>
              </a:buClr>
              <a:buFont typeface="+mj-lt"/>
              <a:buAutoNum type="arabicPeriod"/>
              <a:defRPr sz="2400">
                <a:solidFill>
                  <a:schemeClr val="bg1"/>
                </a:solidFill>
              </a:defRPr>
            </a:lvl1pPr>
            <a:lvl2pPr marL="228600" indent="0">
              <a:buNone/>
              <a:defRPr>
                <a:solidFill>
                  <a:schemeClr val="bg1"/>
                </a:solidFill>
              </a:defRPr>
            </a:lvl2pPr>
          </a:lstStyle>
          <a:p>
            <a:pPr lvl="0"/>
            <a:r>
              <a:rPr lang="en-US"/>
              <a:t>Click to edit Master text styles</a:t>
            </a:r>
          </a:p>
        </p:txBody>
      </p:sp>
      <p:pic>
        <p:nvPicPr>
          <p:cNvPr id="16" name="Graphic 15">
            <a:extLst>
              <a:ext uri="{FF2B5EF4-FFF2-40B4-BE49-F238E27FC236}">
                <a16:creationId xmlns:a16="http://schemas.microsoft.com/office/drawing/2014/main" id="{903EC9D7-5055-9321-A1CD-B3E7BBB02A8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
        <p:nvSpPr>
          <p:cNvPr id="2" name="TextBox 1">
            <a:extLst>
              <a:ext uri="{FF2B5EF4-FFF2-40B4-BE49-F238E27FC236}">
                <a16:creationId xmlns:a16="http://schemas.microsoft.com/office/drawing/2014/main" id="{9A8C724D-E4C1-B817-C9E7-EFFF71895424}"/>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2315622540"/>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ummary Viridi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FCD9A012-462B-D2A7-903C-6A1DCF439444}"/>
              </a:ext>
            </a:extLst>
          </p:cNvPr>
          <p:cNvSpPr/>
          <p:nvPr userDrawn="1"/>
        </p:nvSpPr>
        <p:spPr>
          <a:xfrm>
            <a:off x="0" y="0"/>
            <a:ext cx="12192000" cy="6858000"/>
          </a:xfrm>
          <a:custGeom>
            <a:avLst/>
            <a:gdLst>
              <a:gd name="connsiteX0" fmla="*/ 0 w 12192000"/>
              <a:gd name="connsiteY0" fmla="*/ 0 h 6858000"/>
              <a:gd name="connsiteX1" fmla="*/ 676842 w 12192000"/>
              <a:gd name="connsiteY1" fmla="*/ 0 h 6858000"/>
              <a:gd name="connsiteX2" fmla="*/ 7250945 w 12192000"/>
              <a:gd name="connsiteY2" fmla="*/ 6573770 h 6858000"/>
              <a:gd name="connsiteX3" fmla="*/ 7600067 w 12192000"/>
              <a:gd name="connsiteY3" fmla="*/ 6718654 h 6858000"/>
              <a:gd name="connsiteX4" fmla="*/ 7601224 w 12192000"/>
              <a:gd name="connsiteY4" fmla="*/ 6719027 h 6858000"/>
              <a:gd name="connsiteX5" fmla="*/ 7601224 w 12192000"/>
              <a:gd name="connsiteY5" fmla="*/ 6718654 h 6858000"/>
              <a:gd name="connsiteX6" fmla="*/ 7950308 w 12192000"/>
              <a:gd name="connsiteY6" fmla="*/ 6574181 h 6858000"/>
              <a:gd name="connsiteX7" fmla="*/ 12192000 w 12192000"/>
              <a:gd name="connsiteY7" fmla="*/ 2332489 h 6858000"/>
              <a:gd name="connsiteX8" fmla="*/ 12192000 w 12192000"/>
              <a:gd name="connsiteY8" fmla="*/ 6858000 h 6858000"/>
              <a:gd name="connsiteX9" fmla="*/ 2825088 w 12192000"/>
              <a:gd name="connsiteY9" fmla="*/ 6858000 h 6858000"/>
              <a:gd name="connsiteX10" fmla="*/ 2665503 w 12192000"/>
              <a:gd name="connsiteY10" fmla="*/ 6713540 h 6858000"/>
              <a:gd name="connsiteX11" fmla="*/ 0 w 12192000"/>
              <a:gd name="connsiteY11" fmla="*/ 404786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676842" y="0"/>
                </a:lnTo>
                <a:lnTo>
                  <a:pt x="7250945" y="6573770"/>
                </a:lnTo>
                <a:cubicBezTo>
                  <a:pt x="7347409" y="6670236"/>
                  <a:pt x="7473925" y="6718654"/>
                  <a:pt x="7600067" y="6718654"/>
                </a:cubicBezTo>
                <a:lnTo>
                  <a:pt x="7601224" y="6719027"/>
                </a:lnTo>
                <a:lnTo>
                  <a:pt x="7601224" y="6718654"/>
                </a:lnTo>
                <a:cubicBezTo>
                  <a:pt x="7727738" y="6718654"/>
                  <a:pt x="7853881" y="6670236"/>
                  <a:pt x="7950308" y="6574181"/>
                </a:cubicBezTo>
                <a:lnTo>
                  <a:pt x="12192000" y="2332489"/>
                </a:lnTo>
                <a:lnTo>
                  <a:pt x="12192000" y="6858000"/>
                </a:lnTo>
                <a:lnTo>
                  <a:pt x="2825088" y="6858000"/>
                </a:lnTo>
                <a:lnTo>
                  <a:pt x="2665503" y="6713540"/>
                </a:lnTo>
                <a:lnTo>
                  <a:pt x="0" y="4047865"/>
                </a:lnTo>
                <a:close/>
              </a:path>
            </a:pathLst>
          </a:custGeom>
          <a:gradFill flip="none" rotWithShape="1">
            <a:gsLst>
              <a:gs pos="56000">
                <a:srgbClr val="00D05D">
                  <a:lumMod val="60000"/>
                  <a:lumOff val="40000"/>
                  <a:alpha val="12000"/>
                </a:srgbClr>
              </a:gs>
              <a:gs pos="100000">
                <a:srgbClr val="00D05D">
                  <a:lumMod val="60000"/>
                  <a:lumOff val="40000"/>
                </a:srgbClr>
              </a:gs>
            </a:gsLst>
            <a:lin ang="2700000" scaled="1"/>
            <a:tileRect/>
          </a:gra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US" b="0" i="0" u="none" strike="noStrike" kern="0" cap="none" spc="0" normalizeH="0" baseline="0">
              <a:ln>
                <a:noFill/>
              </a:ln>
              <a:solidFill>
                <a:srgbClr val="4F5860"/>
              </a:solidFill>
              <a:effectLst/>
              <a:uLnTx/>
              <a:uFillTx/>
            </a:endParaRPr>
          </a:p>
        </p:txBody>
      </p:sp>
      <p:sp>
        <p:nvSpPr>
          <p:cNvPr id="7" name="TextBox 6">
            <a:extLst>
              <a:ext uri="{FF2B5EF4-FFF2-40B4-BE49-F238E27FC236}">
                <a16:creationId xmlns:a16="http://schemas.microsoft.com/office/drawing/2014/main" id="{8493F21F-4213-B69E-35C2-E06FEA62BD24}"/>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
        <p:nvSpPr>
          <p:cNvPr id="31" name="object 2">
            <a:extLst>
              <a:ext uri="{FF2B5EF4-FFF2-40B4-BE49-F238E27FC236}">
                <a16:creationId xmlns:a16="http://schemas.microsoft.com/office/drawing/2014/main" id="{05A25A4A-FAE7-2D2B-4226-570A975BC54A}"/>
              </a:ext>
            </a:extLst>
          </p:cNvPr>
          <p:cNvSpPr/>
          <p:nvPr userDrawn="1"/>
        </p:nvSpPr>
        <p:spPr>
          <a:xfrm>
            <a:off x="1471879" y="1032627"/>
            <a:ext cx="686638" cy="686636"/>
          </a:xfrm>
          <a:custGeom>
            <a:avLst/>
            <a:gdLst/>
            <a:ahLst/>
            <a:cxnLst/>
            <a:rect l="l" t="t" r="r" b="b"/>
            <a:pathLst>
              <a:path w="828675" h="828675">
                <a:moveTo>
                  <a:pt x="828121" y="0"/>
                </a:moveTo>
                <a:lnTo>
                  <a:pt x="511712" y="565"/>
                </a:lnTo>
                <a:lnTo>
                  <a:pt x="468206" y="4936"/>
                </a:lnTo>
                <a:lnTo>
                  <a:pt x="426776" y="17574"/>
                </a:lnTo>
                <a:lnTo>
                  <a:pt x="388579" y="37999"/>
                </a:lnTo>
                <a:lnTo>
                  <a:pt x="354774" y="65736"/>
                </a:lnTo>
                <a:lnTo>
                  <a:pt x="65736" y="354774"/>
                </a:lnTo>
                <a:lnTo>
                  <a:pt x="38004" y="388579"/>
                </a:lnTo>
                <a:lnTo>
                  <a:pt x="17577" y="426774"/>
                </a:lnTo>
                <a:lnTo>
                  <a:pt x="4938" y="468201"/>
                </a:lnTo>
                <a:lnTo>
                  <a:pt x="565" y="511701"/>
                </a:lnTo>
                <a:lnTo>
                  <a:pt x="0" y="828110"/>
                </a:lnTo>
                <a:lnTo>
                  <a:pt x="235553" y="828110"/>
                </a:lnTo>
                <a:lnTo>
                  <a:pt x="236087" y="280776"/>
                </a:lnTo>
                <a:lnTo>
                  <a:pt x="239616" y="263356"/>
                </a:lnTo>
                <a:lnTo>
                  <a:pt x="249213" y="249132"/>
                </a:lnTo>
                <a:lnTo>
                  <a:pt x="263438" y="239540"/>
                </a:lnTo>
                <a:lnTo>
                  <a:pt x="280850" y="236013"/>
                </a:lnTo>
                <a:lnTo>
                  <a:pt x="828121" y="235553"/>
                </a:lnTo>
                <a:lnTo>
                  <a:pt x="828121" y="0"/>
                </a:lnTo>
                <a:close/>
              </a:path>
            </a:pathLst>
          </a:custGeom>
          <a:solidFill>
            <a:schemeClr val="bg1"/>
          </a:solidFill>
        </p:spPr>
        <p:txBody>
          <a:bodyPr wrap="square" lIns="0" tIns="0" rIns="0" bIns="0" rtlCol="0"/>
          <a:lstStyle/>
          <a:p>
            <a:pPr marR="0" lvl="0" indent="0" fontAlgn="auto">
              <a:lnSpc>
                <a:spcPct val="100000"/>
              </a:lnSpc>
              <a:spcBef>
                <a:spcPts val="0"/>
              </a:spcBef>
              <a:spcAft>
                <a:spcPts val="0"/>
              </a:spcAft>
              <a:buClrTx/>
              <a:buSzTx/>
              <a:buFontTx/>
              <a:buNone/>
              <a:tabLst/>
            </a:pPr>
            <a:endParaRPr kumimoji="0" b="0" i="0" u="none" strike="noStrike" kern="0" cap="none" spc="0" normalizeH="0" baseline="0" noProof="0">
              <a:ln>
                <a:noFill/>
              </a:ln>
              <a:solidFill>
                <a:srgbClr val="4F5860"/>
              </a:solidFill>
              <a:effectLst/>
              <a:uLnTx/>
              <a:uFillTx/>
            </a:endParaRPr>
          </a:p>
        </p:txBody>
      </p:sp>
      <p:sp>
        <p:nvSpPr>
          <p:cNvPr id="2" name="Title 1">
            <a:extLst>
              <a:ext uri="{FF2B5EF4-FFF2-40B4-BE49-F238E27FC236}">
                <a16:creationId xmlns:a16="http://schemas.microsoft.com/office/drawing/2014/main" id="{82FF2371-56CE-DEB1-222E-662031DEDA49}"/>
              </a:ext>
            </a:extLst>
          </p:cNvPr>
          <p:cNvSpPr>
            <a:spLocks noGrp="1"/>
          </p:cNvSpPr>
          <p:nvPr>
            <p:ph type="title"/>
          </p:nvPr>
        </p:nvSpPr>
        <p:spPr>
          <a:xfrm>
            <a:off x="2160588" y="1566659"/>
            <a:ext cx="8583612" cy="3916566"/>
          </a:xfrm>
        </p:spPr>
        <p:txBody>
          <a:bodyPr anchor="t">
            <a:noAutofit/>
          </a:bodyPr>
          <a:lstStyle>
            <a:lvl1pPr>
              <a:lnSpc>
                <a:spcPct val="87000"/>
              </a:lnSpc>
              <a:defRPr lang="en-US" sz="8900" b="0" i="0" kern="1200" dirty="0">
                <a:solidFill>
                  <a:schemeClr val="accent1"/>
                </a:solidFill>
                <a:effectLst/>
                <a:latin typeface="+mj-lt"/>
                <a:ea typeface="ES Build" pitchFamily="2" charset="77"/>
                <a:cs typeface="+mn-cs"/>
              </a:defRPr>
            </a:lvl1pPr>
          </a:lstStyle>
          <a:p>
            <a:r>
              <a:rPr lang="en-US"/>
              <a:t>Click to edit Master title style</a:t>
            </a:r>
          </a:p>
        </p:txBody>
      </p:sp>
      <p:pic>
        <p:nvPicPr>
          <p:cNvPr id="5" name="Graphic 4">
            <a:extLst>
              <a:ext uri="{FF2B5EF4-FFF2-40B4-BE49-F238E27FC236}">
                <a16:creationId xmlns:a16="http://schemas.microsoft.com/office/drawing/2014/main" id="{F459A949-7013-B7FD-5ECA-05984FCBEE8E}"/>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420629194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Summary Light">
    <p:bg>
      <p:bgPr>
        <a:solidFill>
          <a:schemeClr val="bg1"/>
        </a:solidFill>
        <a:effectLst/>
      </p:bgPr>
    </p:bg>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FCD9A012-462B-D2A7-903C-6A1DCF439444}"/>
              </a:ext>
            </a:extLst>
          </p:cNvPr>
          <p:cNvSpPr/>
          <p:nvPr userDrawn="1"/>
        </p:nvSpPr>
        <p:spPr>
          <a:xfrm>
            <a:off x="0" y="0"/>
            <a:ext cx="12192000" cy="6858000"/>
          </a:xfrm>
          <a:custGeom>
            <a:avLst/>
            <a:gdLst>
              <a:gd name="connsiteX0" fmla="*/ 0 w 12192000"/>
              <a:gd name="connsiteY0" fmla="*/ 0 h 6858000"/>
              <a:gd name="connsiteX1" fmla="*/ 676842 w 12192000"/>
              <a:gd name="connsiteY1" fmla="*/ 0 h 6858000"/>
              <a:gd name="connsiteX2" fmla="*/ 7250945 w 12192000"/>
              <a:gd name="connsiteY2" fmla="*/ 6573770 h 6858000"/>
              <a:gd name="connsiteX3" fmla="*/ 7600067 w 12192000"/>
              <a:gd name="connsiteY3" fmla="*/ 6718654 h 6858000"/>
              <a:gd name="connsiteX4" fmla="*/ 7601224 w 12192000"/>
              <a:gd name="connsiteY4" fmla="*/ 6719027 h 6858000"/>
              <a:gd name="connsiteX5" fmla="*/ 7601224 w 12192000"/>
              <a:gd name="connsiteY5" fmla="*/ 6718654 h 6858000"/>
              <a:gd name="connsiteX6" fmla="*/ 7950308 w 12192000"/>
              <a:gd name="connsiteY6" fmla="*/ 6574181 h 6858000"/>
              <a:gd name="connsiteX7" fmla="*/ 12192000 w 12192000"/>
              <a:gd name="connsiteY7" fmla="*/ 2332489 h 6858000"/>
              <a:gd name="connsiteX8" fmla="*/ 12192000 w 12192000"/>
              <a:gd name="connsiteY8" fmla="*/ 6858000 h 6858000"/>
              <a:gd name="connsiteX9" fmla="*/ 2825088 w 12192000"/>
              <a:gd name="connsiteY9" fmla="*/ 6858000 h 6858000"/>
              <a:gd name="connsiteX10" fmla="*/ 2665503 w 12192000"/>
              <a:gd name="connsiteY10" fmla="*/ 6713540 h 6858000"/>
              <a:gd name="connsiteX11" fmla="*/ 0 w 12192000"/>
              <a:gd name="connsiteY11" fmla="*/ 404786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676842" y="0"/>
                </a:lnTo>
                <a:lnTo>
                  <a:pt x="7250945" y="6573770"/>
                </a:lnTo>
                <a:cubicBezTo>
                  <a:pt x="7347409" y="6670236"/>
                  <a:pt x="7473925" y="6718654"/>
                  <a:pt x="7600067" y="6718654"/>
                </a:cubicBezTo>
                <a:lnTo>
                  <a:pt x="7601224" y="6719027"/>
                </a:lnTo>
                <a:lnTo>
                  <a:pt x="7601224" y="6718654"/>
                </a:lnTo>
                <a:cubicBezTo>
                  <a:pt x="7727738" y="6718654"/>
                  <a:pt x="7853881" y="6670236"/>
                  <a:pt x="7950308" y="6574181"/>
                </a:cubicBezTo>
                <a:lnTo>
                  <a:pt x="12192000" y="2332489"/>
                </a:lnTo>
                <a:lnTo>
                  <a:pt x="12192000" y="6858000"/>
                </a:lnTo>
                <a:lnTo>
                  <a:pt x="2825088" y="6858000"/>
                </a:lnTo>
                <a:lnTo>
                  <a:pt x="2665503" y="6713540"/>
                </a:lnTo>
                <a:lnTo>
                  <a:pt x="0" y="4047865"/>
                </a:lnTo>
                <a:close/>
              </a:path>
            </a:pathLst>
          </a:custGeom>
          <a:gradFill flip="none" rotWithShape="1">
            <a:gsLst>
              <a:gs pos="56000">
                <a:schemeClr val="bg1">
                  <a:lumMod val="95000"/>
                  <a:alpha val="52000"/>
                </a:schemeClr>
              </a:gs>
              <a:gs pos="100000">
                <a:schemeClr val="tx2">
                  <a:lumMod val="40000"/>
                  <a:lumOff val="60000"/>
                  <a:alpha val="54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US" b="0" i="0" u="none" strike="noStrike" kern="0" cap="none" spc="0" normalizeH="0" baseline="0">
              <a:ln>
                <a:noFill/>
              </a:ln>
              <a:solidFill>
                <a:srgbClr val="4F5860"/>
              </a:solidFill>
              <a:effectLst/>
              <a:uLnTx/>
              <a:uFillTx/>
            </a:endParaRPr>
          </a:p>
        </p:txBody>
      </p:sp>
      <p:sp>
        <p:nvSpPr>
          <p:cNvPr id="3" name="Title 1">
            <a:extLst>
              <a:ext uri="{FF2B5EF4-FFF2-40B4-BE49-F238E27FC236}">
                <a16:creationId xmlns:a16="http://schemas.microsoft.com/office/drawing/2014/main" id="{DE1EFF03-2B6D-DE21-5340-445DA0736492}"/>
              </a:ext>
            </a:extLst>
          </p:cNvPr>
          <p:cNvSpPr>
            <a:spLocks noGrp="1"/>
          </p:cNvSpPr>
          <p:nvPr>
            <p:ph type="title"/>
          </p:nvPr>
        </p:nvSpPr>
        <p:spPr>
          <a:xfrm>
            <a:off x="2133600" y="1719263"/>
            <a:ext cx="8597900" cy="3771899"/>
          </a:xfrm>
        </p:spPr>
        <p:txBody>
          <a:bodyPr anchor="t">
            <a:noAutofit/>
          </a:bodyPr>
          <a:lstStyle>
            <a:lvl1pPr>
              <a:lnSpc>
                <a:spcPct val="87000"/>
              </a:lnSpc>
              <a:defRPr lang="en-US" sz="8900" b="0" i="0" kern="1200" dirty="0">
                <a:solidFill>
                  <a:schemeClr val="accent1"/>
                </a:solidFill>
                <a:effectLst/>
                <a:latin typeface="+mj-lt"/>
                <a:ea typeface="ES Build" pitchFamily="2" charset="77"/>
                <a:cs typeface="+mn-cs"/>
              </a:defRPr>
            </a:lvl1pPr>
          </a:lstStyle>
          <a:p>
            <a:r>
              <a:rPr lang="en-US"/>
              <a:t>Click to edit Master title style</a:t>
            </a:r>
          </a:p>
        </p:txBody>
      </p:sp>
      <p:sp>
        <p:nvSpPr>
          <p:cNvPr id="26" name="object 2">
            <a:extLst>
              <a:ext uri="{FF2B5EF4-FFF2-40B4-BE49-F238E27FC236}">
                <a16:creationId xmlns:a16="http://schemas.microsoft.com/office/drawing/2014/main" id="{37F595A5-0DF7-C3DE-1313-FCCFBFD328CF}"/>
              </a:ext>
            </a:extLst>
          </p:cNvPr>
          <p:cNvSpPr/>
          <p:nvPr userDrawn="1"/>
        </p:nvSpPr>
        <p:spPr>
          <a:xfrm>
            <a:off x="1471879" y="1032627"/>
            <a:ext cx="686638" cy="686636"/>
          </a:xfrm>
          <a:custGeom>
            <a:avLst/>
            <a:gdLst/>
            <a:ahLst/>
            <a:cxnLst/>
            <a:rect l="l" t="t" r="r" b="b"/>
            <a:pathLst>
              <a:path w="828675" h="828675">
                <a:moveTo>
                  <a:pt x="828121" y="0"/>
                </a:moveTo>
                <a:lnTo>
                  <a:pt x="511712" y="565"/>
                </a:lnTo>
                <a:lnTo>
                  <a:pt x="468206" y="4936"/>
                </a:lnTo>
                <a:lnTo>
                  <a:pt x="426776" y="17574"/>
                </a:lnTo>
                <a:lnTo>
                  <a:pt x="388579" y="37999"/>
                </a:lnTo>
                <a:lnTo>
                  <a:pt x="354774" y="65736"/>
                </a:lnTo>
                <a:lnTo>
                  <a:pt x="65736" y="354774"/>
                </a:lnTo>
                <a:lnTo>
                  <a:pt x="38004" y="388579"/>
                </a:lnTo>
                <a:lnTo>
                  <a:pt x="17577" y="426774"/>
                </a:lnTo>
                <a:lnTo>
                  <a:pt x="4938" y="468201"/>
                </a:lnTo>
                <a:lnTo>
                  <a:pt x="565" y="511701"/>
                </a:lnTo>
                <a:lnTo>
                  <a:pt x="0" y="828110"/>
                </a:lnTo>
                <a:lnTo>
                  <a:pt x="235553" y="828110"/>
                </a:lnTo>
                <a:lnTo>
                  <a:pt x="236087" y="280776"/>
                </a:lnTo>
                <a:lnTo>
                  <a:pt x="239616" y="263356"/>
                </a:lnTo>
                <a:lnTo>
                  <a:pt x="249213" y="249132"/>
                </a:lnTo>
                <a:lnTo>
                  <a:pt x="263438" y="239540"/>
                </a:lnTo>
                <a:lnTo>
                  <a:pt x="280850" y="236013"/>
                </a:lnTo>
                <a:lnTo>
                  <a:pt x="828121" y="235553"/>
                </a:lnTo>
                <a:lnTo>
                  <a:pt x="828121" y="0"/>
                </a:lnTo>
                <a:close/>
              </a:path>
            </a:pathLst>
          </a:custGeom>
          <a:gradFill flip="none" rotWithShape="1">
            <a:gsLst>
              <a:gs pos="0">
                <a:srgbClr val="00824A"/>
              </a:gs>
              <a:gs pos="95413">
                <a:srgbClr val="96FFA1"/>
              </a:gs>
              <a:gs pos="32000">
                <a:srgbClr val="00D05D"/>
              </a:gs>
            </a:gsLst>
            <a:lin ang="8400000" scaled="0"/>
            <a:tileRect/>
          </a:gradFill>
        </p:spPr>
        <p:txBody>
          <a:bodyPr wrap="square" lIns="0" tIns="0" rIns="0" bIns="0" rtlCol="0"/>
          <a:lstStyle/>
          <a:p>
            <a:pPr marR="0" lvl="0" indent="0" fontAlgn="auto">
              <a:lnSpc>
                <a:spcPct val="100000"/>
              </a:lnSpc>
              <a:spcBef>
                <a:spcPts val="0"/>
              </a:spcBef>
              <a:spcAft>
                <a:spcPts val="0"/>
              </a:spcAft>
              <a:buClrTx/>
              <a:buSzTx/>
              <a:buFontTx/>
              <a:buNone/>
              <a:tabLst/>
            </a:pPr>
            <a:endParaRPr kumimoji="0" b="0" i="0" u="none" strike="noStrike" kern="0" cap="none" spc="0" normalizeH="0" baseline="0" noProof="0">
              <a:ln>
                <a:noFill/>
              </a:ln>
              <a:solidFill>
                <a:srgbClr val="4F5860"/>
              </a:solidFill>
              <a:effectLst/>
              <a:uLnTx/>
              <a:uFillTx/>
            </a:endParaRPr>
          </a:p>
        </p:txBody>
      </p:sp>
      <p:sp>
        <p:nvSpPr>
          <p:cNvPr id="7" name="TextBox 6">
            <a:extLst>
              <a:ext uri="{FF2B5EF4-FFF2-40B4-BE49-F238E27FC236}">
                <a16:creationId xmlns:a16="http://schemas.microsoft.com/office/drawing/2014/main" id="{8493F21F-4213-B69E-35C2-E06FEA62BD24}"/>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tx2"/>
                </a:solidFill>
              </a:rPr>
              <a:t>© 2024 Veeam Software. Confidential information. All rights reserved. All trademarks are the property of their respective owners. </a:t>
            </a:r>
          </a:p>
        </p:txBody>
      </p:sp>
      <p:pic>
        <p:nvPicPr>
          <p:cNvPr id="5" name="Graphic 4">
            <a:extLst>
              <a:ext uri="{FF2B5EF4-FFF2-40B4-BE49-F238E27FC236}">
                <a16:creationId xmlns:a16="http://schemas.microsoft.com/office/drawing/2014/main" id="{6D5C35FF-E3DB-6882-28B9-2E52ED586C02}"/>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31077617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hank You w/Content">
    <p:bg>
      <p:bgPr>
        <a:solidFill>
          <a:schemeClr val="bg1"/>
        </a:solidFill>
        <a:effectLst/>
      </p:bgPr>
    </p:bg>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EB58D252-253C-859A-753B-BE0222265903}"/>
              </a:ext>
            </a:extLst>
          </p:cNvPr>
          <p:cNvSpPr>
            <a:spLocks noChangeAspect="1"/>
          </p:cNvSpPr>
          <p:nvPr userDrawn="1"/>
        </p:nvSpPr>
        <p:spPr>
          <a:xfrm rot="5400000">
            <a:off x="610984" y="416914"/>
            <a:ext cx="5829301" cy="7051271"/>
          </a:xfrm>
          <a:custGeom>
            <a:avLst/>
            <a:gdLst>
              <a:gd name="connsiteX0" fmla="*/ 0 w 6858000"/>
              <a:gd name="connsiteY0" fmla="*/ 6475591 h 8295611"/>
              <a:gd name="connsiteX1" fmla="*/ 0 w 6858000"/>
              <a:gd name="connsiteY1" fmla="*/ 0 h 8295611"/>
              <a:gd name="connsiteX2" fmla="*/ 5037655 w 6858000"/>
              <a:gd name="connsiteY2" fmla="*/ 0 h 8295611"/>
              <a:gd name="connsiteX3" fmla="*/ 5597611 w 6858000"/>
              <a:gd name="connsiteY3" fmla="*/ 231852 h 8295611"/>
              <a:gd name="connsiteX4" fmla="*/ 6626148 w 6858000"/>
              <a:gd name="connsiteY4" fmla="*/ 1260390 h 8295611"/>
              <a:gd name="connsiteX5" fmla="*/ 6858000 w 6858000"/>
              <a:gd name="connsiteY5" fmla="*/ 1820346 h 8295611"/>
              <a:gd name="connsiteX6" fmla="*/ 6858000 w 6858000"/>
              <a:gd name="connsiteY6" fmla="*/ 8295611 h 8295611"/>
              <a:gd name="connsiteX7" fmla="*/ 1820020 w 6858000"/>
              <a:gd name="connsiteY7" fmla="*/ 8295611 h 8295611"/>
              <a:gd name="connsiteX8" fmla="*/ 1260389 w 6858000"/>
              <a:gd name="connsiteY8" fmla="*/ 8063759 h 8295611"/>
              <a:gd name="connsiteX9" fmla="*/ 231852 w 6858000"/>
              <a:gd name="connsiteY9" fmla="*/ 7035547 h 8295611"/>
              <a:gd name="connsiteX10" fmla="*/ 0 w 6858000"/>
              <a:gd name="connsiteY10" fmla="*/ 6475591 h 8295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58000" h="8295611">
                <a:moveTo>
                  <a:pt x="0" y="6475591"/>
                </a:moveTo>
                <a:lnTo>
                  <a:pt x="0" y="0"/>
                </a:lnTo>
                <a:lnTo>
                  <a:pt x="5037655" y="0"/>
                </a:lnTo>
                <a:cubicBezTo>
                  <a:pt x="5247720" y="0"/>
                  <a:pt x="5449005" y="83246"/>
                  <a:pt x="5597611" y="231852"/>
                </a:cubicBezTo>
                <a:cubicBezTo>
                  <a:pt x="5972216" y="606457"/>
                  <a:pt x="6251544" y="885785"/>
                  <a:pt x="6626148" y="1260390"/>
                </a:cubicBezTo>
                <a:cubicBezTo>
                  <a:pt x="6774430" y="1408996"/>
                  <a:pt x="6858000" y="1610281"/>
                  <a:pt x="6858000" y="1820346"/>
                </a:cubicBezTo>
                <a:lnTo>
                  <a:pt x="6858000" y="8295611"/>
                </a:lnTo>
                <a:lnTo>
                  <a:pt x="1820020" y="8295611"/>
                </a:lnTo>
                <a:cubicBezTo>
                  <a:pt x="1610281" y="8295611"/>
                  <a:pt x="1408670" y="8212040"/>
                  <a:pt x="1260389" y="8063759"/>
                </a:cubicBezTo>
                <a:cubicBezTo>
                  <a:pt x="885784" y="7689154"/>
                  <a:pt x="606457" y="7409827"/>
                  <a:pt x="231852" y="7035547"/>
                </a:cubicBezTo>
                <a:cubicBezTo>
                  <a:pt x="83571" y="6886941"/>
                  <a:pt x="0" y="6685656"/>
                  <a:pt x="0" y="6475591"/>
                </a:cubicBezTo>
                <a:close/>
              </a:path>
            </a:pathLst>
          </a:custGeom>
          <a:blipFill>
            <a:blip r:embed="rId2"/>
            <a:stretch>
              <a:fillRect/>
            </a:stretch>
          </a:blipFill>
          <a:ln w="10186" cap="flat">
            <a:noFill/>
            <a:prstDash val="solid"/>
            <a:miter/>
          </a:ln>
        </p:spPr>
        <p:txBody>
          <a:bodyPr wrap="square" rtlCol="0" anchor="ctr">
            <a:noAutofit/>
          </a:bodyPr>
          <a:lstStyle/>
          <a:p>
            <a:endParaRPr lang="en-US"/>
          </a:p>
        </p:txBody>
      </p:sp>
      <p:sp>
        <p:nvSpPr>
          <p:cNvPr id="4" name="Subtitle 2">
            <a:extLst>
              <a:ext uri="{FF2B5EF4-FFF2-40B4-BE49-F238E27FC236}">
                <a16:creationId xmlns:a16="http://schemas.microsoft.com/office/drawing/2014/main" id="{D23A6BD4-B62E-6382-6798-23111C2BB9C5}"/>
              </a:ext>
            </a:extLst>
          </p:cNvPr>
          <p:cNvSpPr>
            <a:spLocks noGrp="1"/>
          </p:cNvSpPr>
          <p:nvPr>
            <p:ph type="subTitle" idx="1"/>
          </p:nvPr>
        </p:nvSpPr>
        <p:spPr>
          <a:xfrm>
            <a:off x="8025930" y="2823583"/>
            <a:ext cx="3670770" cy="1288042"/>
          </a:xfrm>
        </p:spPr>
        <p:txBody>
          <a:bodyPr/>
          <a:lstStyle>
            <a:lvl1pPr marL="0" indent="0" algn="l" defTabSz="914400" rtl="0" eaLnBrk="1" latinLnBrk="0" hangingPunct="1">
              <a:lnSpc>
                <a:spcPct val="85000"/>
              </a:lnSpc>
              <a:buNone/>
              <a:defRPr lang="en-US" sz="3400" kern="1200" dirty="0">
                <a:solidFill>
                  <a:schemeClr val="tx1"/>
                </a:solidFill>
                <a:latin typeface="+mj-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Picture Placeholder 5">
            <a:extLst>
              <a:ext uri="{FF2B5EF4-FFF2-40B4-BE49-F238E27FC236}">
                <a16:creationId xmlns:a16="http://schemas.microsoft.com/office/drawing/2014/main" id="{AE04F211-AE71-BEF3-3FB3-6D28A2D78064}"/>
              </a:ext>
            </a:extLst>
          </p:cNvPr>
          <p:cNvSpPr>
            <a:spLocks noGrp="1"/>
          </p:cNvSpPr>
          <p:nvPr>
            <p:ph type="pic" sz="quarter" idx="10" hasCustomPrompt="1"/>
          </p:nvPr>
        </p:nvSpPr>
        <p:spPr>
          <a:xfrm>
            <a:off x="8126631" y="4533160"/>
            <a:ext cx="969264" cy="969264"/>
          </a:xfrm>
          <a:prstGeom prst="roundRect">
            <a:avLst>
              <a:gd name="adj" fmla="val 10879"/>
            </a:avLst>
          </a:prstGeom>
          <a:ln>
            <a:solidFill>
              <a:schemeClr val="bg2">
                <a:lumMod val="90000"/>
              </a:schemeClr>
            </a:solidFill>
          </a:ln>
        </p:spPr>
        <p:txBody>
          <a:bodyPr/>
          <a:lstStyle>
            <a:lvl1pPr algn="ctr">
              <a:defRPr sz="1400">
                <a:solidFill>
                  <a:schemeClr val="accent1"/>
                </a:solidFill>
              </a:defRPr>
            </a:lvl1pPr>
          </a:lstStyle>
          <a:p>
            <a:r>
              <a:rPr lang="en-US"/>
              <a:t>Insert QR Code</a:t>
            </a:r>
          </a:p>
        </p:txBody>
      </p:sp>
      <p:pic>
        <p:nvPicPr>
          <p:cNvPr id="26" name="Graphic 25">
            <a:extLst>
              <a:ext uri="{FF2B5EF4-FFF2-40B4-BE49-F238E27FC236}">
                <a16:creationId xmlns:a16="http://schemas.microsoft.com/office/drawing/2014/main" id="{6831001F-6EB7-EF34-88CE-32366BB7840A}"/>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8118012" y="2012807"/>
            <a:ext cx="1660169" cy="504671"/>
          </a:xfrm>
          <a:prstGeom prst="rect">
            <a:avLst/>
          </a:prstGeom>
        </p:spPr>
      </p:pic>
      <p:sp>
        <p:nvSpPr>
          <p:cNvPr id="43" name="Title 1">
            <a:extLst>
              <a:ext uri="{FF2B5EF4-FFF2-40B4-BE49-F238E27FC236}">
                <a16:creationId xmlns:a16="http://schemas.microsoft.com/office/drawing/2014/main" id="{A9A0AE45-DA56-6D1B-4948-25C84CB6E76D}"/>
              </a:ext>
            </a:extLst>
          </p:cNvPr>
          <p:cNvSpPr>
            <a:spLocks noGrp="1"/>
          </p:cNvSpPr>
          <p:nvPr>
            <p:ph type="title" hasCustomPrompt="1"/>
          </p:nvPr>
        </p:nvSpPr>
        <p:spPr>
          <a:xfrm>
            <a:off x="1206507" y="1711325"/>
            <a:ext cx="5365743" cy="3456860"/>
          </a:xfrm>
        </p:spPr>
        <p:txBody>
          <a:bodyPr anchor="ctr">
            <a:noAutofit/>
          </a:bodyPr>
          <a:lstStyle>
            <a:lvl1pPr>
              <a:lnSpc>
                <a:spcPct val="73000"/>
              </a:lnSpc>
              <a:defRPr sz="8900">
                <a:solidFill>
                  <a:schemeClr val="accent1"/>
                </a:solidFill>
              </a:defRPr>
            </a:lvl1pPr>
          </a:lstStyle>
          <a:p>
            <a:r>
              <a:rPr lang="en-US"/>
              <a:t>Click to edit title</a:t>
            </a:r>
          </a:p>
        </p:txBody>
      </p:sp>
      <p:pic>
        <p:nvPicPr>
          <p:cNvPr id="14" name="Picture 13">
            <a:hlinkClick r:id="rId5"/>
            <a:extLst>
              <a:ext uri="{FF2B5EF4-FFF2-40B4-BE49-F238E27FC236}">
                <a16:creationId xmlns:a16="http://schemas.microsoft.com/office/drawing/2014/main" id="{5F3C8143-545D-7556-761A-AFD7845BC6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369458" y="5893254"/>
            <a:ext cx="355199" cy="274320"/>
          </a:xfrm>
          <a:prstGeom prst="rect">
            <a:avLst/>
          </a:prstGeom>
        </p:spPr>
      </p:pic>
      <p:sp>
        <p:nvSpPr>
          <p:cNvPr id="15" name="TextBox 14">
            <a:extLst>
              <a:ext uri="{FF2B5EF4-FFF2-40B4-BE49-F238E27FC236}">
                <a16:creationId xmlns:a16="http://schemas.microsoft.com/office/drawing/2014/main" id="{C6C1278E-146D-F8E3-A956-9DDEBB42775E}"/>
              </a:ext>
            </a:extLst>
          </p:cNvPr>
          <p:cNvSpPr txBox="1"/>
          <p:nvPr userDrawn="1"/>
        </p:nvSpPr>
        <p:spPr>
          <a:xfrm>
            <a:off x="510677" y="5464171"/>
            <a:ext cx="1241070" cy="246221"/>
          </a:xfrm>
          <a:prstGeom prst="rect">
            <a:avLst/>
          </a:prstGeom>
          <a:noFill/>
        </p:spPr>
        <p:txBody>
          <a:bodyPr wrap="square" lIns="0" tIns="0" rIns="0" bIns="0">
            <a:spAutoFit/>
          </a:bodyPr>
          <a:lstStyle/>
          <a:p>
            <a:r>
              <a:rPr lang="en-US" sz="1600" b="0" i="0">
                <a:solidFill>
                  <a:schemeClr val="bg1"/>
                </a:solidFill>
                <a:effectLst/>
                <a:latin typeface="+mn-lt"/>
                <a:ea typeface="ES Build" pitchFamily="2" charset="77"/>
              </a:rPr>
              <a:t>Follow us!</a:t>
            </a:r>
            <a:endParaRPr lang="en-US" sz="1600">
              <a:solidFill>
                <a:schemeClr val="bg1"/>
              </a:solidFill>
              <a:latin typeface="+mn-lt"/>
              <a:ea typeface="ES Build" pitchFamily="2" charset="77"/>
            </a:endParaRPr>
          </a:p>
        </p:txBody>
      </p:sp>
      <p:cxnSp>
        <p:nvCxnSpPr>
          <p:cNvPr id="25" name="Straight Connector 24">
            <a:extLst>
              <a:ext uri="{FF2B5EF4-FFF2-40B4-BE49-F238E27FC236}">
                <a16:creationId xmlns:a16="http://schemas.microsoft.com/office/drawing/2014/main" id="{BF3C9D8D-3255-B440-1B5C-A97425D015C5}"/>
              </a:ext>
            </a:extLst>
          </p:cNvPr>
          <p:cNvCxnSpPr/>
          <p:nvPr userDrawn="1"/>
        </p:nvCxnSpPr>
        <p:spPr>
          <a:xfrm>
            <a:off x="3089964" y="5526724"/>
            <a:ext cx="0" cy="678583"/>
          </a:xfrm>
          <a:prstGeom prst="line">
            <a:avLst/>
          </a:prstGeom>
          <a:ln w="12700" cap="rnd">
            <a:solidFill>
              <a:schemeClr val="bg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6C50FA6-9946-FA77-E13C-D72F7A552200}"/>
              </a:ext>
            </a:extLst>
          </p:cNvPr>
          <p:cNvSpPr txBox="1"/>
          <p:nvPr userDrawn="1"/>
        </p:nvSpPr>
        <p:spPr>
          <a:xfrm>
            <a:off x="3370214" y="5464171"/>
            <a:ext cx="2434962" cy="246221"/>
          </a:xfrm>
          <a:prstGeom prst="rect">
            <a:avLst/>
          </a:prstGeom>
          <a:noFill/>
        </p:spPr>
        <p:txBody>
          <a:bodyPr wrap="square" lIns="0" tIns="0" rIns="0" bIns="0">
            <a:spAutoFit/>
          </a:bodyPr>
          <a:lstStyle>
            <a:defPPr>
              <a:defRPr lang="en-US"/>
            </a:defPPr>
            <a:lvl1pPr>
              <a:defRPr sz="1600" b="0" i="0">
                <a:solidFill>
                  <a:schemeClr val="bg1"/>
                </a:solidFill>
                <a:effectLst/>
                <a:ea typeface="ES Build" pitchFamily="2" charset="77"/>
              </a:defRPr>
            </a:lvl1pPr>
          </a:lstStyle>
          <a:p>
            <a:r>
              <a:rPr lang="en-US"/>
              <a:t>Join the community hub:</a:t>
            </a:r>
          </a:p>
        </p:txBody>
      </p:sp>
      <p:sp>
        <p:nvSpPr>
          <p:cNvPr id="42" name="TextBox 41">
            <a:extLst>
              <a:ext uri="{FF2B5EF4-FFF2-40B4-BE49-F238E27FC236}">
                <a16:creationId xmlns:a16="http://schemas.microsoft.com/office/drawing/2014/main" id="{4DB5F8FA-A005-0310-0645-EF5DF183C696}"/>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
        <p:nvSpPr>
          <p:cNvPr id="2" name="Freeform 5">
            <a:hlinkClick r:id="rId7"/>
            <a:extLst>
              <a:ext uri="{FF2B5EF4-FFF2-40B4-BE49-F238E27FC236}">
                <a16:creationId xmlns:a16="http://schemas.microsoft.com/office/drawing/2014/main" id="{B2CA37FA-31FD-0DDA-8DA8-A9D959FBB564}"/>
              </a:ext>
            </a:extLst>
          </p:cNvPr>
          <p:cNvSpPr>
            <a:spLocks/>
          </p:cNvSpPr>
          <p:nvPr userDrawn="1"/>
        </p:nvSpPr>
        <p:spPr bwMode="gray">
          <a:xfrm>
            <a:off x="1087489" y="5895294"/>
            <a:ext cx="127593" cy="275200"/>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ES Build" pitchFamily="50" charset="0"/>
              <a:ea typeface="+mn-ea"/>
              <a:cs typeface="+mn-cs"/>
            </a:endParaRPr>
          </a:p>
        </p:txBody>
      </p:sp>
      <p:grpSp>
        <p:nvGrpSpPr>
          <p:cNvPr id="3" name="Group 4">
            <a:extLst>
              <a:ext uri="{FF2B5EF4-FFF2-40B4-BE49-F238E27FC236}">
                <a16:creationId xmlns:a16="http://schemas.microsoft.com/office/drawing/2014/main" id="{3E87B232-E1D1-22FC-6FD2-BD6F62EA4F20}"/>
              </a:ext>
            </a:extLst>
          </p:cNvPr>
          <p:cNvGrpSpPr>
            <a:grpSpLocks noChangeAspect="1"/>
          </p:cNvGrpSpPr>
          <p:nvPr userDrawn="1"/>
        </p:nvGrpSpPr>
        <p:grpSpPr bwMode="auto">
          <a:xfrm>
            <a:off x="1935296" y="5891573"/>
            <a:ext cx="278329" cy="278565"/>
            <a:chOff x="2653" y="972"/>
            <a:chExt cx="2372" cy="2374"/>
          </a:xfrm>
          <a:solidFill>
            <a:schemeClr val="bg1"/>
          </a:solidFill>
        </p:grpSpPr>
        <p:sp>
          <p:nvSpPr>
            <p:cNvPr id="5" name="Freeform 5">
              <a:extLst>
                <a:ext uri="{FF2B5EF4-FFF2-40B4-BE49-F238E27FC236}">
                  <a16:creationId xmlns:a16="http://schemas.microsoft.com/office/drawing/2014/main" id="{AE37D9FC-19CE-149B-B296-AD52CDC6D778}"/>
                </a:ext>
              </a:extLst>
            </p:cNvPr>
            <p:cNvSpPr>
              <a:spLocks noEditPoints="1"/>
            </p:cNvSpPr>
            <p:nvPr/>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7" name="Freeform 6">
              <a:hlinkClick r:id="rId8"/>
              <a:extLst>
                <a:ext uri="{FF2B5EF4-FFF2-40B4-BE49-F238E27FC236}">
                  <a16:creationId xmlns:a16="http://schemas.microsoft.com/office/drawing/2014/main" id="{B6D80A34-8F92-36AF-0DF3-0F1E57CB1829}"/>
                </a:ext>
              </a:extLst>
            </p:cNvPr>
            <p:cNvSpPr>
              <a:spLocks noEditPoints="1"/>
            </p:cNvSpPr>
            <p:nvPr/>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8" name="Oval 7">
              <a:extLst>
                <a:ext uri="{FF2B5EF4-FFF2-40B4-BE49-F238E27FC236}">
                  <a16:creationId xmlns:a16="http://schemas.microsoft.com/office/drawing/2014/main" id="{45944121-AD8B-4E17-C722-AD67B8DF4538}"/>
                </a:ext>
              </a:extLst>
            </p:cNvPr>
            <p:cNvSpPr>
              <a:spLocks noChangeArrowheads="1"/>
            </p:cNvSpPr>
            <p:nvPr/>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grpSp>
      <p:pic>
        <p:nvPicPr>
          <p:cNvPr id="9" name="Graphic 8">
            <a:hlinkClick r:id="rId9"/>
            <a:extLst>
              <a:ext uri="{FF2B5EF4-FFF2-40B4-BE49-F238E27FC236}">
                <a16:creationId xmlns:a16="http://schemas.microsoft.com/office/drawing/2014/main" id="{F18642EC-384D-4ADF-0F36-01B0708FF6ED}"/>
              </a:ext>
            </a:extLst>
          </p:cNvPr>
          <p:cNvPicPr>
            <a:picLocks noChangeAspect="1"/>
          </p:cNvPicPr>
          <p:nvPr userDrawn="1"/>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38744" y="5909556"/>
            <a:ext cx="278327" cy="260582"/>
          </a:xfrm>
          <a:prstGeom prst="rect">
            <a:avLst/>
          </a:prstGeom>
        </p:spPr>
      </p:pic>
      <p:pic>
        <p:nvPicPr>
          <p:cNvPr id="10" name="Picture 9">
            <a:hlinkClick r:id="rId12"/>
            <a:extLst>
              <a:ext uri="{FF2B5EF4-FFF2-40B4-BE49-F238E27FC236}">
                <a16:creationId xmlns:a16="http://schemas.microsoft.com/office/drawing/2014/main" id="{C24EFE93-9073-F9A8-9E94-906E07AEFB82}"/>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2454421" y="5889009"/>
            <a:ext cx="397241" cy="278565"/>
          </a:xfrm>
          <a:prstGeom prst="rect">
            <a:avLst/>
          </a:prstGeom>
        </p:spPr>
      </p:pic>
      <p:pic>
        <p:nvPicPr>
          <p:cNvPr id="11" name="Picture 10" descr="A blue and black logo&#10;&#10;Description automatically generated">
            <a:hlinkClick r:id="rId14"/>
            <a:extLst>
              <a:ext uri="{FF2B5EF4-FFF2-40B4-BE49-F238E27FC236}">
                <a16:creationId xmlns:a16="http://schemas.microsoft.com/office/drawing/2014/main" id="{21C7C6C8-984E-3E78-C3FA-0B18CBA0F05D}"/>
              </a:ext>
            </a:extLst>
          </p:cNvPr>
          <p:cNvPicPr>
            <a:picLocks noChangeAspect="1"/>
          </p:cNvPicPr>
          <p:nvPr userDrawn="1"/>
        </p:nvPicPr>
        <p:blipFill rotWithShape="1">
          <a:blip r:embed="rId15">
            <a:biLevel thresh="25000"/>
          </a:blip>
          <a:srcRect r="14227"/>
          <a:stretch/>
        </p:blipFill>
        <p:spPr>
          <a:xfrm>
            <a:off x="510677" y="5832610"/>
            <a:ext cx="353151" cy="349427"/>
          </a:xfrm>
          <a:prstGeom prst="rect">
            <a:avLst/>
          </a:prstGeom>
        </p:spPr>
      </p:pic>
    </p:spTree>
    <p:extLst>
      <p:ext uri="{BB962C8B-B14F-4D97-AF65-F5344CB8AC3E}">
        <p14:creationId xmlns:p14="http://schemas.microsoft.com/office/powerpoint/2010/main" val="86152672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ank You w/Content Casia">
    <p:bg>
      <p:bgPr>
        <a:solidFill>
          <a:schemeClr val="bg1"/>
        </a:solidFill>
        <a:effectLst/>
      </p:bgPr>
    </p:bg>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883018BE-0E5C-5567-71DB-248007C8D08B}"/>
              </a:ext>
            </a:extLst>
          </p:cNvPr>
          <p:cNvSpPr/>
          <p:nvPr userDrawn="1"/>
        </p:nvSpPr>
        <p:spPr>
          <a:xfrm rot="5400000">
            <a:off x="610984" y="417716"/>
            <a:ext cx="5829301" cy="7051270"/>
          </a:xfrm>
          <a:custGeom>
            <a:avLst/>
            <a:gdLst>
              <a:gd name="connsiteX0" fmla="*/ 0 w 5829301"/>
              <a:gd name="connsiteY0" fmla="*/ 5504253 h 7051270"/>
              <a:gd name="connsiteX1" fmla="*/ 0 w 5829301"/>
              <a:gd name="connsiteY1" fmla="*/ 0 h 7051270"/>
              <a:gd name="connsiteX2" fmla="*/ 4282007 w 5829301"/>
              <a:gd name="connsiteY2" fmla="*/ 0 h 7051270"/>
              <a:gd name="connsiteX3" fmla="*/ 4757970 w 5829301"/>
              <a:gd name="connsiteY3" fmla="*/ 197074 h 7051270"/>
              <a:gd name="connsiteX4" fmla="*/ 5632227 w 5829301"/>
              <a:gd name="connsiteY4" fmla="*/ 1071332 h 7051270"/>
              <a:gd name="connsiteX5" fmla="*/ 5829301 w 5829301"/>
              <a:gd name="connsiteY5" fmla="*/ 1547294 h 7051270"/>
              <a:gd name="connsiteX6" fmla="*/ 5829301 w 5829301"/>
              <a:gd name="connsiteY6" fmla="*/ 7051270 h 7051270"/>
              <a:gd name="connsiteX7" fmla="*/ 1547017 w 5829301"/>
              <a:gd name="connsiteY7" fmla="*/ 7051270 h 7051270"/>
              <a:gd name="connsiteX8" fmla="*/ 1071330 w 5829301"/>
              <a:gd name="connsiteY8" fmla="*/ 6854196 h 7051270"/>
              <a:gd name="connsiteX9" fmla="*/ 197074 w 5829301"/>
              <a:gd name="connsiteY9" fmla="*/ 5980216 h 7051270"/>
              <a:gd name="connsiteX10" fmla="*/ 0 w 5829301"/>
              <a:gd name="connsiteY10" fmla="*/ 5504253 h 7051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29301" h="7051270">
                <a:moveTo>
                  <a:pt x="0" y="5504253"/>
                </a:moveTo>
                <a:lnTo>
                  <a:pt x="0" y="0"/>
                </a:lnTo>
                <a:lnTo>
                  <a:pt x="4282007" y="0"/>
                </a:lnTo>
                <a:cubicBezTo>
                  <a:pt x="4460563" y="0"/>
                  <a:pt x="4631655" y="70759"/>
                  <a:pt x="4757970" y="197074"/>
                </a:cubicBezTo>
                <a:cubicBezTo>
                  <a:pt x="5076384" y="515488"/>
                  <a:pt x="5313813" y="752917"/>
                  <a:pt x="5632227" y="1071332"/>
                </a:cubicBezTo>
                <a:cubicBezTo>
                  <a:pt x="5758266" y="1197647"/>
                  <a:pt x="5829301" y="1368739"/>
                  <a:pt x="5829301" y="1547294"/>
                </a:cubicBezTo>
                <a:lnTo>
                  <a:pt x="5829301" y="7051270"/>
                </a:lnTo>
                <a:lnTo>
                  <a:pt x="1547017" y="7051270"/>
                </a:lnTo>
                <a:cubicBezTo>
                  <a:pt x="1368739" y="7051270"/>
                  <a:pt x="1197369" y="6980235"/>
                  <a:pt x="1071330" y="6854196"/>
                </a:cubicBezTo>
                <a:cubicBezTo>
                  <a:pt x="752916" y="6535782"/>
                  <a:pt x="515488" y="6298354"/>
                  <a:pt x="197074" y="5980216"/>
                </a:cubicBezTo>
                <a:cubicBezTo>
                  <a:pt x="71035" y="5853900"/>
                  <a:pt x="0" y="5682808"/>
                  <a:pt x="0" y="5504253"/>
                </a:cubicBezTo>
                <a:close/>
              </a:path>
            </a:pathLst>
          </a:custGeom>
          <a:blipFill>
            <a:blip r:embed="rId2"/>
            <a:stretch>
              <a:fillRect/>
            </a:stretch>
          </a:blipFill>
          <a:ln w="10186" cap="flat">
            <a:noFill/>
            <a:prstDash val="solid"/>
            <a:miter/>
          </a:ln>
        </p:spPr>
        <p:txBody>
          <a:bodyPr wrap="square" rtlCol="0" anchor="ctr">
            <a:noAutofit/>
          </a:bodyPr>
          <a:lstStyle/>
          <a:p>
            <a:endParaRPr lang="en-US"/>
          </a:p>
        </p:txBody>
      </p:sp>
      <p:sp>
        <p:nvSpPr>
          <p:cNvPr id="2" name="Subtitle 2">
            <a:extLst>
              <a:ext uri="{FF2B5EF4-FFF2-40B4-BE49-F238E27FC236}">
                <a16:creationId xmlns:a16="http://schemas.microsoft.com/office/drawing/2014/main" id="{7B89D29C-7E11-55C1-6D47-78CD92D7A5EE}"/>
              </a:ext>
            </a:extLst>
          </p:cNvPr>
          <p:cNvSpPr>
            <a:spLocks noGrp="1"/>
          </p:cNvSpPr>
          <p:nvPr>
            <p:ph type="subTitle" idx="1"/>
          </p:nvPr>
        </p:nvSpPr>
        <p:spPr>
          <a:xfrm>
            <a:off x="8025930" y="2823583"/>
            <a:ext cx="3670770" cy="1288042"/>
          </a:xfrm>
        </p:spPr>
        <p:txBody>
          <a:bodyPr/>
          <a:lstStyle>
            <a:lvl1pPr marL="0" indent="0" algn="l" defTabSz="914400" rtl="0" eaLnBrk="1" latinLnBrk="0" hangingPunct="1">
              <a:lnSpc>
                <a:spcPct val="85000"/>
              </a:lnSpc>
              <a:buNone/>
              <a:defRPr lang="en-US" sz="3400" kern="1200" dirty="0">
                <a:solidFill>
                  <a:schemeClr val="tx1"/>
                </a:solidFill>
                <a:latin typeface="ES Build "/>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TextBox 4">
            <a:extLst>
              <a:ext uri="{FF2B5EF4-FFF2-40B4-BE49-F238E27FC236}">
                <a16:creationId xmlns:a16="http://schemas.microsoft.com/office/drawing/2014/main" id="{98395F42-A2DA-275F-DBE9-4026407238CC}"/>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
        <p:nvSpPr>
          <p:cNvPr id="6" name="Picture Placeholder 5">
            <a:extLst>
              <a:ext uri="{FF2B5EF4-FFF2-40B4-BE49-F238E27FC236}">
                <a16:creationId xmlns:a16="http://schemas.microsoft.com/office/drawing/2014/main" id="{0203D5C4-63D0-301C-00C1-754668FCB324}"/>
              </a:ext>
            </a:extLst>
          </p:cNvPr>
          <p:cNvSpPr>
            <a:spLocks noGrp="1"/>
          </p:cNvSpPr>
          <p:nvPr>
            <p:ph type="pic" sz="quarter" idx="10" hasCustomPrompt="1"/>
          </p:nvPr>
        </p:nvSpPr>
        <p:spPr>
          <a:xfrm>
            <a:off x="8126631" y="4533160"/>
            <a:ext cx="969264" cy="969264"/>
          </a:xfrm>
          <a:prstGeom prst="roundRect">
            <a:avLst>
              <a:gd name="adj" fmla="val 10879"/>
            </a:avLst>
          </a:prstGeom>
          <a:ln>
            <a:solidFill>
              <a:schemeClr val="bg2">
                <a:lumMod val="90000"/>
              </a:schemeClr>
            </a:solidFill>
          </a:ln>
        </p:spPr>
        <p:txBody>
          <a:bodyPr/>
          <a:lstStyle>
            <a:lvl1pPr algn="ctr">
              <a:defRPr sz="1400">
                <a:solidFill>
                  <a:schemeClr val="accent1"/>
                </a:solidFill>
              </a:defRPr>
            </a:lvl1pPr>
          </a:lstStyle>
          <a:p>
            <a:r>
              <a:rPr lang="en-US"/>
              <a:t>Insert QR Code</a:t>
            </a:r>
          </a:p>
        </p:txBody>
      </p:sp>
      <p:pic>
        <p:nvPicPr>
          <p:cNvPr id="8" name="Graphic 7">
            <a:extLst>
              <a:ext uri="{FF2B5EF4-FFF2-40B4-BE49-F238E27FC236}">
                <a16:creationId xmlns:a16="http://schemas.microsoft.com/office/drawing/2014/main" id="{9EB05BE9-D4E7-BCD2-39AA-AAC50A2A467D}"/>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8118012" y="2012807"/>
            <a:ext cx="1660169" cy="504671"/>
          </a:xfrm>
          <a:prstGeom prst="rect">
            <a:avLst/>
          </a:prstGeom>
        </p:spPr>
      </p:pic>
      <p:sp>
        <p:nvSpPr>
          <p:cNvPr id="24" name="Title 1">
            <a:extLst>
              <a:ext uri="{FF2B5EF4-FFF2-40B4-BE49-F238E27FC236}">
                <a16:creationId xmlns:a16="http://schemas.microsoft.com/office/drawing/2014/main" id="{40868D98-0580-0966-6222-3D3195744114}"/>
              </a:ext>
            </a:extLst>
          </p:cNvPr>
          <p:cNvSpPr>
            <a:spLocks noGrp="1"/>
          </p:cNvSpPr>
          <p:nvPr>
            <p:ph type="title" hasCustomPrompt="1"/>
          </p:nvPr>
        </p:nvSpPr>
        <p:spPr>
          <a:xfrm>
            <a:off x="1206501" y="1711325"/>
            <a:ext cx="5365747" cy="3456860"/>
          </a:xfrm>
        </p:spPr>
        <p:txBody>
          <a:bodyPr anchor="ctr">
            <a:noAutofit/>
          </a:bodyPr>
          <a:lstStyle>
            <a:lvl1pPr>
              <a:lnSpc>
                <a:spcPct val="73000"/>
              </a:lnSpc>
              <a:defRPr sz="8900">
                <a:solidFill>
                  <a:schemeClr val="bg1"/>
                </a:solidFill>
              </a:defRPr>
            </a:lvl1pPr>
          </a:lstStyle>
          <a:p>
            <a:r>
              <a:rPr lang="en-US"/>
              <a:t>Click to edit title</a:t>
            </a:r>
          </a:p>
        </p:txBody>
      </p:sp>
      <p:sp>
        <p:nvSpPr>
          <p:cNvPr id="54" name="TextBox 53">
            <a:extLst>
              <a:ext uri="{FF2B5EF4-FFF2-40B4-BE49-F238E27FC236}">
                <a16:creationId xmlns:a16="http://schemas.microsoft.com/office/drawing/2014/main" id="{760C7250-ED3F-7083-BE33-003FABD467DA}"/>
              </a:ext>
            </a:extLst>
          </p:cNvPr>
          <p:cNvSpPr txBox="1"/>
          <p:nvPr userDrawn="1"/>
        </p:nvSpPr>
        <p:spPr>
          <a:xfrm>
            <a:off x="510677" y="5464171"/>
            <a:ext cx="1241070" cy="246221"/>
          </a:xfrm>
          <a:prstGeom prst="rect">
            <a:avLst/>
          </a:prstGeom>
          <a:noFill/>
        </p:spPr>
        <p:txBody>
          <a:bodyPr wrap="square" lIns="0" tIns="0" rIns="0" bIns="0">
            <a:spAutoFit/>
          </a:bodyPr>
          <a:lstStyle/>
          <a:p>
            <a:r>
              <a:rPr lang="en-US" sz="1600" b="0" i="0">
                <a:solidFill>
                  <a:schemeClr val="bg1"/>
                </a:solidFill>
                <a:effectLst/>
                <a:latin typeface="+mn-lt"/>
                <a:ea typeface="ES Build" pitchFamily="2" charset="77"/>
              </a:rPr>
              <a:t>Follow us!</a:t>
            </a:r>
            <a:endParaRPr lang="en-US" sz="1600">
              <a:solidFill>
                <a:schemeClr val="bg1"/>
              </a:solidFill>
              <a:latin typeface="+mn-lt"/>
              <a:ea typeface="ES Build" pitchFamily="2" charset="77"/>
            </a:endParaRPr>
          </a:p>
        </p:txBody>
      </p:sp>
      <p:sp>
        <p:nvSpPr>
          <p:cNvPr id="64" name="TextBox 63">
            <a:extLst>
              <a:ext uri="{FF2B5EF4-FFF2-40B4-BE49-F238E27FC236}">
                <a16:creationId xmlns:a16="http://schemas.microsoft.com/office/drawing/2014/main" id="{4301DD53-2EAB-810E-F6B1-FBF2B4448AF5}"/>
              </a:ext>
            </a:extLst>
          </p:cNvPr>
          <p:cNvSpPr txBox="1"/>
          <p:nvPr userDrawn="1"/>
        </p:nvSpPr>
        <p:spPr>
          <a:xfrm>
            <a:off x="3370214" y="5464171"/>
            <a:ext cx="2434962" cy="246221"/>
          </a:xfrm>
          <a:prstGeom prst="rect">
            <a:avLst/>
          </a:prstGeom>
          <a:noFill/>
        </p:spPr>
        <p:txBody>
          <a:bodyPr wrap="square" lIns="0" tIns="0" rIns="0" bIns="0">
            <a:spAutoFit/>
          </a:bodyPr>
          <a:lstStyle>
            <a:defPPr>
              <a:defRPr lang="en-US"/>
            </a:defPPr>
            <a:lvl1pPr>
              <a:defRPr sz="1600" b="0" i="0">
                <a:solidFill>
                  <a:schemeClr val="bg1"/>
                </a:solidFill>
                <a:effectLst/>
                <a:ea typeface="ES Build" pitchFamily="2" charset="77"/>
              </a:defRPr>
            </a:lvl1pPr>
          </a:lstStyle>
          <a:p>
            <a:r>
              <a:rPr lang="en-US"/>
              <a:t>Join the community hub:</a:t>
            </a:r>
          </a:p>
        </p:txBody>
      </p:sp>
      <p:cxnSp>
        <p:nvCxnSpPr>
          <p:cNvPr id="65" name="Straight Connector 64">
            <a:extLst>
              <a:ext uri="{FF2B5EF4-FFF2-40B4-BE49-F238E27FC236}">
                <a16:creationId xmlns:a16="http://schemas.microsoft.com/office/drawing/2014/main" id="{CA45B318-2895-D710-0DCF-BA9DABF93EBF}"/>
              </a:ext>
            </a:extLst>
          </p:cNvPr>
          <p:cNvCxnSpPr/>
          <p:nvPr userDrawn="1"/>
        </p:nvCxnSpPr>
        <p:spPr>
          <a:xfrm>
            <a:off x="3089964" y="5526724"/>
            <a:ext cx="0" cy="678583"/>
          </a:xfrm>
          <a:prstGeom prst="line">
            <a:avLst/>
          </a:prstGeom>
          <a:ln w="12700" cap="rnd">
            <a:solidFill>
              <a:schemeClr val="bg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pic>
        <p:nvPicPr>
          <p:cNvPr id="67" name="Picture 66">
            <a:hlinkClick r:id="rId5"/>
            <a:extLst>
              <a:ext uri="{FF2B5EF4-FFF2-40B4-BE49-F238E27FC236}">
                <a16:creationId xmlns:a16="http://schemas.microsoft.com/office/drawing/2014/main" id="{0CC02E49-D2C0-A28C-9B0F-31502D59DEA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386444" y="5895777"/>
            <a:ext cx="356616" cy="275415"/>
          </a:xfrm>
          <a:prstGeom prst="rect">
            <a:avLst/>
          </a:prstGeom>
        </p:spPr>
      </p:pic>
      <p:sp>
        <p:nvSpPr>
          <p:cNvPr id="3" name="Freeform 5">
            <a:hlinkClick r:id="rId7"/>
            <a:extLst>
              <a:ext uri="{FF2B5EF4-FFF2-40B4-BE49-F238E27FC236}">
                <a16:creationId xmlns:a16="http://schemas.microsoft.com/office/drawing/2014/main" id="{B4F3E920-A34D-0A41-A266-6ABB279078DD}"/>
              </a:ext>
            </a:extLst>
          </p:cNvPr>
          <p:cNvSpPr>
            <a:spLocks/>
          </p:cNvSpPr>
          <p:nvPr userDrawn="1"/>
        </p:nvSpPr>
        <p:spPr bwMode="gray">
          <a:xfrm>
            <a:off x="1087489" y="5895294"/>
            <a:ext cx="127593" cy="275200"/>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ES Build" pitchFamily="50" charset="0"/>
              <a:ea typeface="+mn-ea"/>
              <a:cs typeface="+mn-cs"/>
            </a:endParaRPr>
          </a:p>
        </p:txBody>
      </p:sp>
      <p:grpSp>
        <p:nvGrpSpPr>
          <p:cNvPr id="4" name="Group 4">
            <a:extLst>
              <a:ext uri="{FF2B5EF4-FFF2-40B4-BE49-F238E27FC236}">
                <a16:creationId xmlns:a16="http://schemas.microsoft.com/office/drawing/2014/main" id="{046E4813-EB85-356E-AE17-AB1D3D4C8736}"/>
              </a:ext>
            </a:extLst>
          </p:cNvPr>
          <p:cNvGrpSpPr>
            <a:grpSpLocks noChangeAspect="1"/>
          </p:cNvGrpSpPr>
          <p:nvPr userDrawn="1"/>
        </p:nvGrpSpPr>
        <p:grpSpPr bwMode="auto">
          <a:xfrm>
            <a:off x="1935296" y="5891573"/>
            <a:ext cx="278329" cy="278565"/>
            <a:chOff x="2653" y="972"/>
            <a:chExt cx="2372" cy="2374"/>
          </a:xfrm>
          <a:solidFill>
            <a:schemeClr val="bg1"/>
          </a:solidFill>
        </p:grpSpPr>
        <p:sp>
          <p:nvSpPr>
            <p:cNvPr id="7" name="Freeform 5">
              <a:extLst>
                <a:ext uri="{FF2B5EF4-FFF2-40B4-BE49-F238E27FC236}">
                  <a16:creationId xmlns:a16="http://schemas.microsoft.com/office/drawing/2014/main" id="{D2287FB6-BC3D-649C-2EB8-3052741DB3DA}"/>
                </a:ext>
              </a:extLst>
            </p:cNvPr>
            <p:cNvSpPr>
              <a:spLocks noEditPoints="1"/>
            </p:cNvSpPr>
            <p:nvPr/>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9" name="Freeform 6">
              <a:hlinkClick r:id="rId8"/>
              <a:extLst>
                <a:ext uri="{FF2B5EF4-FFF2-40B4-BE49-F238E27FC236}">
                  <a16:creationId xmlns:a16="http://schemas.microsoft.com/office/drawing/2014/main" id="{E6C9D0C3-0E7B-4C13-01E8-6DFFD9A554A6}"/>
                </a:ext>
              </a:extLst>
            </p:cNvPr>
            <p:cNvSpPr>
              <a:spLocks noEditPoints="1"/>
            </p:cNvSpPr>
            <p:nvPr/>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10" name="Oval 7">
              <a:extLst>
                <a:ext uri="{FF2B5EF4-FFF2-40B4-BE49-F238E27FC236}">
                  <a16:creationId xmlns:a16="http://schemas.microsoft.com/office/drawing/2014/main" id="{28721EF1-A2DF-D988-15C4-AF56F4424953}"/>
                </a:ext>
              </a:extLst>
            </p:cNvPr>
            <p:cNvSpPr>
              <a:spLocks noChangeArrowheads="1"/>
            </p:cNvSpPr>
            <p:nvPr/>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grpSp>
      <p:pic>
        <p:nvPicPr>
          <p:cNvPr id="11" name="Graphic 10">
            <a:hlinkClick r:id="rId9"/>
            <a:extLst>
              <a:ext uri="{FF2B5EF4-FFF2-40B4-BE49-F238E27FC236}">
                <a16:creationId xmlns:a16="http://schemas.microsoft.com/office/drawing/2014/main" id="{DB8A13AA-648B-BDB8-5EAB-5F8BDA0E341B}"/>
              </a:ext>
            </a:extLst>
          </p:cNvPr>
          <p:cNvPicPr>
            <a:picLocks noChangeAspect="1"/>
          </p:cNvPicPr>
          <p:nvPr userDrawn="1"/>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38744" y="5909556"/>
            <a:ext cx="278327" cy="260582"/>
          </a:xfrm>
          <a:prstGeom prst="rect">
            <a:avLst/>
          </a:prstGeom>
        </p:spPr>
      </p:pic>
      <p:pic>
        <p:nvPicPr>
          <p:cNvPr id="12" name="Picture 11">
            <a:hlinkClick r:id="rId12"/>
            <a:extLst>
              <a:ext uri="{FF2B5EF4-FFF2-40B4-BE49-F238E27FC236}">
                <a16:creationId xmlns:a16="http://schemas.microsoft.com/office/drawing/2014/main" id="{93ABDEB7-EEE7-258F-628C-079AD14762A8}"/>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2454421" y="5889009"/>
            <a:ext cx="397241" cy="278565"/>
          </a:xfrm>
          <a:prstGeom prst="rect">
            <a:avLst/>
          </a:prstGeom>
        </p:spPr>
      </p:pic>
      <p:pic>
        <p:nvPicPr>
          <p:cNvPr id="13" name="Picture 12" descr="A blue and black logo&#10;&#10;Description automatically generated">
            <a:hlinkClick r:id="rId14"/>
            <a:extLst>
              <a:ext uri="{FF2B5EF4-FFF2-40B4-BE49-F238E27FC236}">
                <a16:creationId xmlns:a16="http://schemas.microsoft.com/office/drawing/2014/main" id="{5ED7D377-16E0-2AF8-31AE-3A7E0F7CFD95}"/>
              </a:ext>
            </a:extLst>
          </p:cNvPr>
          <p:cNvPicPr>
            <a:picLocks noChangeAspect="1"/>
          </p:cNvPicPr>
          <p:nvPr userDrawn="1"/>
        </p:nvPicPr>
        <p:blipFill rotWithShape="1">
          <a:blip r:embed="rId15">
            <a:biLevel thresh="25000"/>
          </a:blip>
          <a:srcRect r="14227"/>
          <a:stretch/>
        </p:blipFill>
        <p:spPr>
          <a:xfrm>
            <a:off x="510677" y="5832610"/>
            <a:ext cx="353151" cy="349427"/>
          </a:xfrm>
          <a:prstGeom prst="rect">
            <a:avLst/>
          </a:prstGeom>
        </p:spPr>
      </p:pic>
    </p:spTree>
    <p:extLst>
      <p:ext uri="{BB962C8B-B14F-4D97-AF65-F5344CB8AC3E}">
        <p14:creationId xmlns:p14="http://schemas.microsoft.com/office/powerpoint/2010/main" val="5482761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1_Viridis Closing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600BB262-2824-0F81-F4CC-0A3A31F1D46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101975" y="2167247"/>
            <a:ext cx="5722938" cy="1819737"/>
          </a:xfrm>
          <a:prstGeom prst="rect">
            <a:avLst/>
          </a:prstGeom>
        </p:spPr>
      </p:pic>
      <p:pic>
        <p:nvPicPr>
          <p:cNvPr id="15" name="Picture 14">
            <a:hlinkClick r:id="rId5"/>
            <a:extLst>
              <a:ext uri="{FF2B5EF4-FFF2-40B4-BE49-F238E27FC236}">
                <a16:creationId xmlns:a16="http://schemas.microsoft.com/office/drawing/2014/main" id="{F2AF11D3-0508-A6D4-A25F-3F92D583AA6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369458" y="5893254"/>
            <a:ext cx="355199" cy="274320"/>
          </a:xfrm>
          <a:prstGeom prst="rect">
            <a:avLst/>
          </a:prstGeom>
        </p:spPr>
      </p:pic>
      <p:sp>
        <p:nvSpPr>
          <p:cNvPr id="17" name="TextBox 16">
            <a:extLst>
              <a:ext uri="{FF2B5EF4-FFF2-40B4-BE49-F238E27FC236}">
                <a16:creationId xmlns:a16="http://schemas.microsoft.com/office/drawing/2014/main" id="{A112FFAF-6C17-B3FE-0AD3-91FD1B2448BD}"/>
              </a:ext>
            </a:extLst>
          </p:cNvPr>
          <p:cNvSpPr txBox="1"/>
          <p:nvPr userDrawn="1"/>
        </p:nvSpPr>
        <p:spPr>
          <a:xfrm>
            <a:off x="510677" y="5464171"/>
            <a:ext cx="1241070" cy="246221"/>
          </a:xfrm>
          <a:prstGeom prst="rect">
            <a:avLst/>
          </a:prstGeom>
          <a:noFill/>
        </p:spPr>
        <p:txBody>
          <a:bodyPr wrap="square" lIns="0" tIns="0" rIns="0" bIns="0">
            <a:spAutoFit/>
          </a:bodyPr>
          <a:lstStyle/>
          <a:p>
            <a:r>
              <a:rPr lang="en-US" sz="1600" b="0" i="0">
                <a:solidFill>
                  <a:schemeClr val="bg1"/>
                </a:solidFill>
                <a:effectLst/>
                <a:latin typeface="+mn-lt"/>
                <a:ea typeface="ES Build" pitchFamily="2" charset="77"/>
              </a:rPr>
              <a:t>Follow us!</a:t>
            </a:r>
            <a:endParaRPr lang="en-US" sz="1600">
              <a:solidFill>
                <a:schemeClr val="bg1"/>
              </a:solidFill>
              <a:latin typeface="+mn-lt"/>
              <a:ea typeface="ES Build" pitchFamily="2" charset="77"/>
            </a:endParaRPr>
          </a:p>
        </p:txBody>
      </p:sp>
      <p:cxnSp>
        <p:nvCxnSpPr>
          <p:cNvPr id="28" name="Straight Connector 27">
            <a:extLst>
              <a:ext uri="{FF2B5EF4-FFF2-40B4-BE49-F238E27FC236}">
                <a16:creationId xmlns:a16="http://schemas.microsoft.com/office/drawing/2014/main" id="{0FB02EBE-1537-8F94-7932-1FDC3D71E465}"/>
              </a:ext>
            </a:extLst>
          </p:cNvPr>
          <p:cNvCxnSpPr/>
          <p:nvPr userDrawn="1"/>
        </p:nvCxnSpPr>
        <p:spPr>
          <a:xfrm>
            <a:off x="3089964" y="5526724"/>
            <a:ext cx="0" cy="678583"/>
          </a:xfrm>
          <a:prstGeom prst="line">
            <a:avLst/>
          </a:prstGeom>
          <a:ln w="12700" cap="rnd">
            <a:solidFill>
              <a:schemeClr val="bg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4EFAD16-3BDD-AFE1-E452-666A4F31A7AF}"/>
              </a:ext>
            </a:extLst>
          </p:cNvPr>
          <p:cNvSpPr txBox="1"/>
          <p:nvPr userDrawn="1"/>
        </p:nvSpPr>
        <p:spPr>
          <a:xfrm>
            <a:off x="3370214" y="5464171"/>
            <a:ext cx="2434962" cy="246221"/>
          </a:xfrm>
          <a:prstGeom prst="rect">
            <a:avLst/>
          </a:prstGeom>
          <a:noFill/>
        </p:spPr>
        <p:txBody>
          <a:bodyPr wrap="square" lIns="0" tIns="0" rIns="0" bIns="0">
            <a:spAutoFit/>
          </a:bodyPr>
          <a:lstStyle>
            <a:defPPr>
              <a:defRPr lang="en-US"/>
            </a:defPPr>
            <a:lvl1pPr>
              <a:defRPr sz="1600" b="0" i="0">
                <a:solidFill>
                  <a:schemeClr val="bg1"/>
                </a:solidFill>
                <a:effectLst/>
                <a:ea typeface="ES Build" pitchFamily="2" charset="77"/>
              </a:defRPr>
            </a:lvl1pPr>
          </a:lstStyle>
          <a:p>
            <a:r>
              <a:rPr lang="en-US"/>
              <a:t>Join the community hub:</a:t>
            </a:r>
          </a:p>
        </p:txBody>
      </p:sp>
      <p:sp>
        <p:nvSpPr>
          <p:cNvPr id="34" name="TextBox 33">
            <a:extLst>
              <a:ext uri="{FF2B5EF4-FFF2-40B4-BE49-F238E27FC236}">
                <a16:creationId xmlns:a16="http://schemas.microsoft.com/office/drawing/2014/main" id="{10298740-AD63-6DE6-1A55-DCB3CC9ADD33}"/>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
        <p:nvSpPr>
          <p:cNvPr id="4" name="Freeform 5">
            <a:hlinkClick r:id="rId7"/>
            <a:extLst>
              <a:ext uri="{FF2B5EF4-FFF2-40B4-BE49-F238E27FC236}">
                <a16:creationId xmlns:a16="http://schemas.microsoft.com/office/drawing/2014/main" id="{4D9C3F8C-D18D-D79B-F8A9-6F3A865F3D77}"/>
              </a:ext>
            </a:extLst>
          </p:cNvPr>
          <p:cNvSpPr>
            <a:spLocks/>
          </p:cNvSpPr>
          <p:nvPr userDrawn="1"/>
        </p:nvSpPr>
        <p:spPr bwMode="gray">
          <a:xfrm>
            <a:off x="1087489" y="5895294"/>
            <a:ext cx="127593" cy="275200"/>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ES Build" pitchFamily="50" charset="0"/>
              <a:ea typeface="+mn-ea"/>
              <a:cs typeface="+mn-cs"/>
            </a:endParaRPr>
          </a:p>
        </p:txBody>
      </p:sp>
      <p:grpSp>
        <p:nvGrpSpPr>
          <p:cNvPr id="5" name="Group 4">
            <a:extLst>
              <a:ext uri="{FF2B5EF4-FFF2-40B4-BE49-F238E27FC236}">
                <a16:creationId xmlns:a16="http://schemas.microsoft.com/office/drawing/2014/main" id="{FA5F59D4-560F-A6BE-AC45-8F4E5F39F04A}"/>
              </a:ext>
            </a:extLst>
          </p:cNvPr>
          <p:cNvGrpSpPr>
            <a:grpSpLocks noChangeAspect="1"/>
          </p:cNvGrpSpPr>
          <p:nvPr userDrawn="1"/>
        </p:nvGrpSpPr>
        <p:grpSpPr bwMode="auto">
          <a:xfrm>
            <a:off x="1935296" y="5891573"/>
            <a:ext cx="278329" cy="278565"/>
            <a:chOff x="2653" y="972"/>
            <a:chExt cx="2372" cy="2374"/>
          </a:xfrm>
          <a:solidFill>
            <a:schemeClr val="bg1"/>
          </a:solidFill>
        </p:grpSpPr>
        <p:sp>
          <p:nvSpPr>
            <p:cNvPr id="6" name="Freeform 5">
              <a:extLst>
                <a:ext uri="{FF2B5EF4-FFF2-40B4-BE49-F238E27FC236}">
                  <a16:creationId xmlns:a16="http://schemas.microsoft.com/office/drawing/2014/main" id="{777D6E78-993A-7DAA-FABB-CAFA09D92715}"/>
                </a:ext>
              </a:extLst>
            </p:cNvPr>
            <p:cNvSpPr>
              <a:spLocks noEditPoints="1"/>
            </p:cNvSpPr>
            <p:nvPr/>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7" name="Freeform 6">
              <a:hlinkClick r:id="rId8"/>
              <a:extLst>
                <a:ext uri="{FF2B5EF4-FFF2-40B4-BE49-F238E27FC236}">
                  <a16:creationId xmlns:a16="http://schemas.microsoft.com/office/drawing/2014/main" id="{182B4EAA-57A1-63F5-DA2A-719F744127A2}"/>
                </a:ext>
              </a:extLst>
            </p:cNvPr>
            <p:cNvSpPr>
              <a:spLocks noEditPoints="1"/>
            </p:cNvSpPr>
            <p:nvPr/>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8" name="Oval 7">
              <a:extLst>
                <a:ext uri="{FF2B5EF4-FFF2-40B4-BE49-F238E27FC236}">
                  <a16:creationId xmlns:a16="http://schemas.microsoft.com/office/drawing/2014/main" id="{21783AE1-BB6E-E4D8-85E8-F1ED6588511B}"/>
                </a:ext>
              </a:extLst>
            </p:cNvPr>
            <p:cNvSpPr>
              <a:spLocks noChangeArrowheads="1"/>
            </p:cNvSpPr>
            <p:nvPr/>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grpSp>
      <p:pic>
        <p:nvPicPr>
          <p:cNvPr id="9" name="Graphic 8">
            <a:hlinkClick r:id="rId9"/>
            <a:extLst>
              <a:ext uri="{FF2B5EF4-FFF2-40B4-BE49-F238E27FC236}">
                <a16:creationId xmlns:a16="http://schemas.microsoft.com/office/drawing/2014/main" id="{418D54DC-A782-0287-FF5C-8A17B080B698}"/>
              </a:ext>
            </a:extLst>
          </p:cNvPr>
          <p:cNvPicPr>
            <a:picLocks noChangeAspect="1"/>
          </p:cNvPicPr>
          <p:nvPr userDrawn="1"/>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38744" y="5909556"/>
            <a:ext cx="278327" cy="260582"/>
          </a:xfrm>
          <a:prstGeom prst="rect">
            <a:avLst/>
          </a:prstGeom>
        </p:spPr>
      </p:pic>
      <p:pic>
        <p:nvPicPr>
          <p:cNvPr id="10" name="Picture 9">
            <a:hlinkClick r:id="rId12"/>
            <a:extLst>
              <a:ext uri="{FF2B5EF4-FFF2-40B4-BE49-F238E27FC236}">
                <a16:creationId xmlns:a16="http://schemas.microsoft.com/office/drawing/2014/main" id="{FE924EFA-C0A0-73C5-9581-72F0384CA991}"/>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2454421" y="5889009"/>
            <a:ext cx="397241" cy="278565"/>
          </a:xfrm>
          <a:prstGeom prst="rect">
            <a:avLst/>
          </a:prstGeom>
        </p:spPr>
      </p:pic>
      <p:pic>
        <p:nvPicPr>
          <p:cNvPr id="11" name="Picture 10" descr="A blue and black logo&#10;&#10;Description automatically generated">
            <a:hlinkClick r:id="rId14"/>
            <a:extLst>
              <a:ext uri="{FF2B5EF4-FFF2-40B4-BE49-F238E27FC236}">
                <a16:creationId xmlns:a16="http://schemas.microsoft.com/office/drawing/2014/main" id="{569E695B-B444-EA83-11E7-7E711B7CA671}"/>
              </a:ext>
            </a:extLst>
          </p:cNvPr>
          <p:cNvPicPr>
            <a:picLocks noChangeAspect="1"/>
          </p:cNvPicPr>
          <p:nvPr userDrawn="1"/>
        </p:nvPicPr>
        <p:blipFill rotWithShape="1">
          <a:blip r:embed="rId15">
            <a:biLevel thresh="25000"/>
          </a:blip>
          <a:srcRect r="14227"/>
          <a:stretch/>
        </p:blipFill>
        <p:spPr>
          <a:xfrm>
            <a:off x="510677" y="5832610"/>
            <a:ext cx="353151" cy="349427"/>
          </a:xfrm>
          <a:prstGeom prst="rect">
            <a:avLst/>
          </a:prstGeom>
        </p:spPr>
      </p:pic>
    </p:spTree>
    <p:extLst>
      <p:ext uri="{BB962C8B-B14F-4D97-AF65-F5344CB8AC3E}">
        <p14:creationId xmlns:p14="http://schemas.microsoft.com/office/powerpoint/2010/main" val="8943840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Casia Closing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36" name="Graphic 35">
            <a:extLst>
              <a:ext uri="{FF2B5EF4-FFF2-40B4-BE49-F238E27FC236}">
                <a16:creationId xmlns:a16="http://schemas.microsoft.com/office/drawing/2014/main" id="{26A658D9-FDD7-AE35-DCB0-F1A9C68DC9D2}"/>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305" r="305"/>
          <a:stretch/>
        </p:blipFill>
        <p:spPr>
          <a:xfrm>
            <a:off x="3100769" y="2166865"/>
            <a:ext cx="5724144" cy="1820119"/>
          </a:xfrm>
          <a:prstGeom prst="rect">
            <a:avLst/>
          </a:prstGeom>
        </p:spPr>
      </p:pic>
      <p:sp>
        <p:nvSpPr>
          <p:cNvPr id="38" name="TextBox 37">
            <a:extLst>
              <a:ext uri="{FF2B5EF4-FFF2-40B4-BE49-F238E27FC236}">
                <a16:creationId xmlns:a16="http://schemas.microsoft.com/office/drawing/2014/main" id="{41E86AFE-0F86-43A6-C6AF-F8F6B304A182}"/>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pic>
        <p:nvPicPr>
          <p:cNvPr id="2" name="Picture 1">
            <a:hlinkClick r:id="rId6"/>
            <a:extLst>
              <a:ext uri="{FF2B5EF4-FFF2-40B4-BE49-F238E27FC236}">
                <a16:creationId xmlns:a16="http://schemas.microsoft.com/office/drawing/2014/main" id="{822E78B8-42C3-D6C5-66CB-208A1554B7E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369458" y="5893254"/>
            <a:ext cx="355199" cy="274320"/>
          </a:xfrm>
          <a:prstGeom prst="rect">
            <a:avLst/>
          </a:prstGeom>
        </p:spPr>
      </p:pic>
      <p:sp>
        <p:nvSpPr>
          <p:cNvPr id="3" name="TextBox 2">
            <a:extLst>
              <a:ext uri="{FF2B5EF4-FFF2-40B4-BE49-F238E27FC236}">
                <a16:creationId xmlns:a16="http://schemas.microsoft.com/office/drawing/2014/main" id="{0E38F27C-6736-2FCB-E658-DB1B01FBC9BC}"/>
              </a:ext>
            </a:extLst>
          </p:cNvPr>
          <p:cNvSpPr txBox="1"/>
          <p:nvPr userDrawn="1"/>
        </p:nvSpPr>
        <p:spPr>
          <a:xfrm>
            <a:off x="510677" y="5464171"/>
            <a:ext cx="1241070" cy="246221"/>
          </a:xfrm>
          <a:prstGeom prst="rect">
            <a:avLst/>
          </a:prstGeom>
          <a:noFill/>
        </p:spPr>
        <p:txBody>
          <a:bodyPr wrap="square" lIns="0" tIns="0" rIns="0" bIns="0">
            <a:spAutoFit/>
          </a:bodyPr>
          <a:lstStyle/>
          <a:p>
            <a:r>
              <a:rPr lang="en-US" sz="1600" b="0" i="0">
                <a:solidFill>
                  <a:schemeClr val="bg1"/>
                </a:solidFill>
                <a:effectLst/>
                <a:latin typeface="+mn-lt"/>
                <a:ea typeface="ES Build" pitchFamily="2" charset="77"/>
              </a:rPr>
              <a:t>Follow us!</a:t>
            </a:r>
            <a:endParaRPr lang="en-US" sz="1600">
              <a:solidFill>
                <a:schemeClr val="bg1"/>
              </a:solidFill>
              <a:latin typeface="+mn-lt"/>
              <a:ea typeface="ES Build" pitchFamily="2" charset="77"/>
            </a:endParaRPr>
          </a:p>
        </p:txBody>
      </p:sp>
      <p:sp>
        <p:nvSpPr>
          <p:cNvPr id="4" name="Freeform 5">
            <a:hlinkClick r:id="rId8"/>
            <a:extLst>
              <a:ext uri="{FF2B5EF4-FFF2-40B4-BE49-F238E27FC236}">
                <a16:creationId xmlns:a16="http://schemas.microsoft.com/office/drawing/2014/main" id="{407F653C-0E3A-519E-2EBB-B623DB653D74}"/>
              </a:ext>
            </a:extLst>
          </p:cNvPr>
          <p:cNvSpPr>
            <a:spLocks/>
          </p:cNvSpPr>
          <p:nvPr userDrawn="1"/>
        </p:nvSpPr>
        <p:spPr bwMode="gray">
          <a:xfrm>
            <a:off x="1087489" y="5895294"/>
            <a:ext cx="127593" cy="275200"/>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ES Build" pitchFamily="50" charset="0"/>
              <a:ea typeface="+mn-ea"/>
              <a:cs typeface="+mn-cs"/>
            </a:endParaRPr>
          </a:p>
        </p:txBody>
      </p:sp>
      <p:grpSp>
        <p:nvGrpSpPr>
          <p:cNvPr id="7" name="Group 4">
            <a:extLst>
              <a:ext uri="{FF2B5EF4-FFF2-40B4-BE49-F238E27FC236}">
                <a16:creationId xmlns:a16="http://schemas.microsoft.com/office/drawing/2014/main" id="{4D7CB47B-7429-8CDB-6B5C-456BAF1C5768}"/>
              </a:ext>
            </a:extLst>
          </p:cNvPr>
          <p:cNvGrpSpPr>
            <a:grpSpLocks noChangeAspect="1"/>
          </p:cNvGrpSpPr>
          <p:nvPr userDrawn="1"/>
        </p:nvGrpSpPr>
        <p:grpSpPr bwMode="auto">
          <a:xfrm>
            <a:off x="1935296" y="5891573"/>
            <a:ext cx="278329" cy="278565"/>
            <a:chOff x="2653" y="972"/>
            <a:chExt cx="2372" cy="2374"/>
          </a:xfrm>
          <a:solidFill>
            <a:schemeClr val="bg1"/>
          </a:solidFill>
        </p:grpSpPr>
        <p:sp>
          <p:nvSpPr>
            <p:cNvPr id="8" name="Freeform 5">
              <a:extLst>
                <a:ext uri="{FF2B5EF4-FFF2-40B4-BE49-F238E27FC236}">
                  <a16:creationId xmlns:a16="http://schemas.microsoft.com/office/drawing/2014/main" id="{3D60FE4E-5DE0-B985-CB62-07F69B2252BF}"/>
                </a:ext>
              </a:extLst>
            </p:cNvPr>
            <p:cNvSpPr>
              <a:spLocks noEditPoints="1"/>
            </p:cNvSpPr>
            <p:nvPr/>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9" name="Freeform 6">
              <a:hlinkClick r:id="rId9"/>
              <a:extLst>
                <a:ext uri="{FF2B5EF4-FFF2-40B4-BE49-F238E27FC236}">
                  <a16:creationId xmlns:a16="http://schemas.microsoft.com/office/drawing/2014/main" id="{441143AA-A551-B1E2-77F2-E3FD3DB7B36A}"/>
                </a:ext>
              </a:extLst>
            </p:cNvPr>
            <p:cNvSpPr>
              <a:spLocks noEditPoints="1"/>
            </p:cNvSpPr>
            <p:nvPr/>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10" name="Oval 7">
              <a:extLst>
                <a:ext uri="{FF2B5EF4-FFF2-40B4-BE49-F238E27FC236}">
                  <a16:creationId xmlns:a16="http://schemas.microsoft.com/office/drawing/2014/main" id="{1AAD85C4-5274-2A52-B261-5F4A53C94C01}"/>
                </a:ext>
              </a:extLst>
            </p:cNvPr>
            <p:cNvSpPr>
              <a:spLocks noChangeArrowheads="1"/>
            </p:cNvSpPr>
            <p:nvPr/>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grpSp>
      <p:pic>
        <p:nvPicPr>
          <p:cNvPr id="11" name="Graphic 10">
            <a:hlinkClick r:id="rId10"/>
            <a:extLst>
              <a:ext uri="{FF2B5EF4-FFF2-40B4-BE49-F238E27FC236}">
                <a16:creationId xmlns:a16="http://schemas.microsoft.com/office/drawing/2014/main" id="{FD66270E-CBB0-5B27-6466-5C09067314A1}"/>
              </a:ext>
            </a:extLst>
          </p:cNvPr>
          <p:cNvPicPr>
            <a:picLocks noChangeAspect="1"/>
          </p:cNvPicPr>
          <p:nvPr userDrawn="1"/>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438744" y="5909556"/>
            <a:ext cx="278327" cy="260582"/>
          </a:xfrm>
          <a:prstGeom prst="rect">
            <a:avLst/>
          </a:prstGeom>
        </p:spPr>
      </p:pic>
      <p:cxnSp>
        <p:nvCxnSpPr>
          <p:cNvPr id="12" name="Straight Connector 11">
            <a:extLst>
              <a:ext uri="{FF2B5EF4-FFF2-40B4-BE49-F238E27FC236}">
                <a16:creationId xmlns:a16="http://schemas.microsoft.com/office/drawing/2014/main" id="{06401681-5398-C907-8ED2-B0EE7BBB960F}"/>
              </a:ext>
            </a:extLst>
          </p:cNvPr>
          <p:cNvCxnSpPr/>
          <p:nvPr userDrawn="1"/>
        </p:nvCxnSpPr>
        <p:spPr>
          <a:xfrm>
            <a:off x="3089964" y="5526724"/>
            <a:ext cx="0" cy="678583"/>
          </a:xfrm>
          <a:prstGeom prst="line">
            <a:avLst/>
          </a:prstGeom>
          <a:ln w="12700" cap="rnd">
            <a:solidFill>
              <a:schemeClr val="bg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pic>
        <p:nvPicPr>
          <p:cNvPr id="13" name="Picture 12">
            <a:hlinkClick r:id="rId13"/>
            <a:extLst>
              <a:ext uri="{FF2B5EF4-FFF2-40B4-BE49-F238E27FC236}">
                <a16:creationId xmlns:a16="http://schemas.microsoft.com/office/drawing/2014/main" id="{F5AD6E3D-DCEB-1840-E98A-A2F4A4D22C0C}"/>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2454421" y="5889009"/>
            <a:ext cx="397241" cy="278565"/>
          </a:xfrm>
          <a:prstGeom prst="rect">
            <a:avLst/>
          </a:prstGeom>
        </p:spPr>
      </p:pic>
      <p:sp>
        <p:nvSpPr>
          <p:cNvPr id="14" name="TextBox 13">
            <a:extLst>
              <a:ext uri="{FF2B5EF4-FFF2-40B4-BE49-F238E27FC236}">
                <a16:creationId xmlns:a16="http://schemas.microsoft.com/office/drawing/2014/main" id="{1B30B114-2C27-BC7D-682B-A95FF968E18D}"/>
              </a:ext>
            </a:extLst>
          </p:cNvPr>
          <p:cNvSpPr txBox="1"/>
          <p:nvPr userDrawn="1"/>
        </p:nvSpPr>
        <p:spPr>
          <a:xfrm>
            <a:off x="3370214" y="5464171"/>
            <a:ext cx="2434962" cy="246221"/>
          </a:xfrm>
          <a:prstGeom prst="rect">
            <a:avLst/>
          </a:prstGeom>
          <a:noFill/>
        </p:spPr>
        <p:txBody>
          <a:bodyPr wrap="square" lIns="0" tIns="0" rIns="0" bIns="0">
            <a:spAutoFit/>
          </a:bodyPr>
          <a:lstStyle>
            <a:defPPr>
              <a:defRPr lang="en-US"/>
            </a:defPPr>
            <a:lvl1pPr>
              <a:defRPr sz="1600" b="0" i="0">
                <a:solidFill>
                  <a:schemeClr val="bg1"/>
                </a:solidFill>
                <a:effectLst/>
                <a:ea typeface="ES Build" pitchFamily="2" charset="77"/>
              </a:defRPr>
            </a:lvl1pPr>
          </a:lstStyle>
          <a:p>
            <a:r>
              <a:rPr lang="en-US"/>
              <a:t>Join the community hub:</a:t>
            </a:r>
          </a:p>
        </p:txBody>
      </p:sp>
      <p:pic>
        <p:nvPicPr>
          <p:cNvPr id="15" name="Picture 14" descr="A blue and black logo&#10;&#10;Description automatically generated">
            <a:hlinkClick r:id="rId15"/>
            <a:extLst>
              <a:ext uri="{FF2B5EF4-FFF2-40B4-BE49-F238E27FC236}">
                <a16:creationId xmlns:a16="http://schemas.microsoft.com/office/drawing/2014/main" id="{798720E0-2DD0-3264-1778-5D3DB0EB83B8}"/>
              </a:ext>
            </a:extLst>
          </p:cNvPr>
          <p:cNvPicPr>
            <a:picLocks noChangeAspect="1"/>
          </p:cNvPicPr>
          <p:nvPr userDrawn="1"/>
        </p:nvPicPr>
        <p:blipFill rotWithShape="1">
          <a:blip r:embed="rId16">
            <a:biLevel thresh="25000"/>
          </a:blip>
          <a:srcRect r="14227"/>
          <a:stretch/>
        </p:blipFill>
        <p:spPr>
          <a:xfrm>
            <a:off x="510677" y="5832610"/>
            <a:ext cx="353151" cy="349427"/>
          </a:xfrm>
          <a:prstGeom prst="rect">
            <a:avLst/>
          </a:prstGeom>
        </p:spPr>
      </p:pic>
    </p:spTree>
    <p:extLst>
      <p:ext uri="{BB962C8B-B14F-4D97-AF65-F5344CB8AC3E}">
        <p14:creationId xmlns:p14="http://schemas.microsoft.com/office/powerpoint/2010/main" val="294358855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B65F72-82C4-0D49-112D-0341D18692E9}"/>
              </a:ext>
            </a:extLst>
          </p:cNvPr>
          <p:cNvSpPr>
            <a:spLocks noGrp="1"/>
          </p:cNvSpPr>
          <p:nvPr>
            <p:ph type="title"/>
          </p:nvPr>
        </p:nvSpPr>
        <p:spPr>
          <a:xfrm>
            <a:off x="493712" y="342900"/>
            <a:ext cx="11202987" cy="682625"/>
          </a:xfrm>
        </p:spPr>
        <p:txBody>
          <a:bodyPr/>
          <a:lstStyle/>
          <a:p>
            <a:r>
              <a:rPr lang="en-US"/>
              <a:t>Click to edit Master title style</a:t>
            </a:r>
          </a:p>
        </p:txBody>
      </p:sp>
      <p:sp>
        <p:nvSpPr>
          <p:cNvPr id="5" name="Subtitle 2">
            <a:extLst>
              <a:ext uri="{FF2B5EF4-FFF2-40B4-BE49-F238E27FC236}">
                <a16:creationId xmlns:a16="http://schemas.microsoft.com/office/drawing/2014/main" id="{1ACA5E8C-63C8-8AD4-F044-CD266DE5C814}"/>
              </a:ext>
            </a:extLst>
          </p:cNvPr>
          <p:cNvSpPr>
            <a:spLocks noGrp="1"/>
          </p:cNvSpPr>
          <p:nvPr>
            <p:ph type="subTitle" idx="1"/>
          </p:nvPr>
        </p:nvSpPr>
        <p:spPr>
          <a:xfrm>
            <a:off x="502179" y="1032607"/>
            <a:ext cx="11194511" cy="338993"/>
          </a:xfrm>
        </p:spPr>
        <p:txBody>
          <a:bodyPr anchor="t"/>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66">
            <a:extLst>
              <a:ext uri="{FF2B5EF4-FFF2-40B4-BE49-F238E27FC236}">
                <a16:creationId xmlns:a16="http://schemas.microsoft.com/office/drawing/2014/main" id="{238F2EE7-08CB-24D4-C85D-6DF51A39EF60}"/>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8" name="Content Placeholder 18">
            <a:extLst>
              <a:ext uri="{FF2B5EF4-FFF2-40B4-BE49-F238E27FC236}">
                <a16:creationId xmlns:a16="http://schemas.microsoft.com/office/drawing/2014/main" id="{DD860FCA-A322-E028-A3B7-EEC65595DE38}"/>
              </a:ext>
            </a:extLst>
          </p:cNvPr>
          <p:cNvSpPr>
            <a:spLocks noGrp="1"/>
          </p:cNvSpPr>
          <p:nvPr>
            <p:ph sz="quarter" idx="10"/>
          </p:nvPr>
        </p:nvSpPr>
        <p:spPr>
          <a:xfrm>
            <a:off x="493287" y="1719645"/>
            <a:ext cx="11203413" cy="4449380"/>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3015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C1EA9AC-4EB9-8C4D-288D-93333E5467EC}"/>
              </a:ext>
            </a:extLst>
          </p:cNvPr>
          <p:cNvSpPr>
            <a:spLocks noGrp="1"/>
          </p:cNvSpPr>
          <p:nvPr>
            <p:ph type="subTitle" idx="1"/>
          </p:nvPr>
        </p:nvSpPr>
        <p:spPr>
          <a:xfrm>
            <a:off x="502179" y="1032607"/>
            <a:ext cx="11194511" cy="338993"/>
          </a:xfrm>
        </p:spPr>
        <p:txBody>
          <a:bodyPr/>
          <a:lstStyle>
            <a:lvl1pPr marL="0" indent="0" algn="l">
              <a:buNone/>
              <a:defRPr sz="21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Title 4">
            <a:extLst>
              <a:ext uri="{FF2B5EF4-FFF2-40B4-BE49-F238E27FC236}">
                <a16:creationId xmlns:a16="http://schemas.microsoft.com/office/drawing/2014/main" id="{4898C618-656B-ECF4-232F-0AE48390DE64}"/>
              </a:ext>
            </a:extLst>
          </p:cNvPr>
          <p:cNvSpPr>
            <a:spLocks noGrp="1"/>
          </p:cNvSpPr>
          <p:nvPr>
            <p:ph type="title"/>
          </p:nvPr>
        </p:nvSpPr>
        <p:spPr>
          <a:xfrm>
            <a:off x="493712" y="342900"/>
            <a:ext cx="11202987" cy="682625"/>
          </a:xfrm>
        </p:spPr>
        <p:txBody>
          <a:bodyPr/>
          <a:lstStyle/>
          <a:p>
            <a:r>
              <a:rPr lang="en-US"/>
              <a:t>Click to edit Master title style</a:t>
            </a:r>
          </a:p>
        </p:txBody>
      </p:sp>
      <p:sp>
        <p:nvSpPr>
          <p:cNvPr id="7" name="Footer Placeholder 66">
            <a:extLst>
              <a:ext uri="{FF2B5EF4-FFF2-40B4-BE49-F238E27FC236}">
                <a16:creationId xmlns:a16="http://schemas.microsoft.com/office/drawing/2014/main" id="{85449C12-712C-A478-9393-2CD1BCA56848}"/>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8" name="Content Placeholder 18">
            <a:extLst>
              <a:ext uri="{FF2B5EF4-FFF2-40B4-BE49-F238E27FC236}">
                <a16:creationId xmlns:a16="http://schemas.microsoft.com/office/drawing/2014/main" id="{B716F0E3-C015-48CC-3A2A-C9CE98111289}"/>
              </a:ext>
            </a:extLst>
          </p:cNvPr>
          <p:cNvSpPr>
            <a:spLocks noGrp="1"/>
          </p:cNvSpPr>
          <p:nvPr>
            <p:ph sz="quarter" idx="10"/>
          </p:nvPr>
        </p:nvSpPr>
        <p:spPr>
          <a:xfrm>
            <a:off x="493287" y="1719645"/>
            <a:ext cx="5482055" cy="4449380"/>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8">
            <a:extLst>
              <a:ext uri="{FF2B5EF4-FFF2-40B4-BE49-F238E27FC236}">
                <a16:creationId xmlns:a16="http://schemas.microsoft.com/office/drawing/2014/main" id="{E8098347-D218-E2F2-713C-BD22A68A58FD}"/>
              </a:ext>
            </a:extLst>
          </p:cNvPr>
          <p:cNvSpPr>
            <a:spLocks noGrp="1"/>
          </p:cNvSpPr>
          <p:nvPr>
            <p:ph sz="quarter" idx="11"/>
          </p:nvPr>
        </p:nvSpPr>
        <p:spPr>
          <a:xfrm>
            <a:off x="6215064" y="1717247"/>
            <a:ext cx="5481626" cy="4449380"/>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96313"/>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image" Target="../media/image2.pn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customXml" Target="../ink/ink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image" Target="../media/image3.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White">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D14B3B3-230B-6CB2-B836-A5132C862073}"/>
              </a:ext>
            </a:extLst>
          </p:cNvPr>
          <p:cNvSpPr>
            <a:spLocks noGrp="1"/>
          </p:cNvSpPr>
          <p:nvPr>
            <p:ph type="body" idx="1"/>
          </p:nvPr>
        </p:nvSpPr>
        <p:spPr>
          <a:xfrm>
            <a:off x="493288" y="1648925"/>
            <a:ext cx="11202987" cy="45200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545D83A8-9E79-2C61-4D66-EF1466741576}"/>
              </a:ext>
            </a:extLst>
          </p:cNvPr>
          <p:cNvSpPr>
            <a:spLocks noGrp="1"/>
          </p:cNvSpPr>
          <p:nvPr>
            <p:ph type="title"/>
          </p:nvPr>
        </p:nvSpPr>
        <p:spPr>
          <a:xfrm>
            <a:off x="493712" y="342900"/>
            <a:ext cx="11202987" cy="682625"/>
          </a:xfrm>
          <a:prstGeom prst="rect">
            <a:avLst/>
          </a:prstGeom>
        </p:spPr>
        <p:txBody>
          <a:bodyPr vert="horz" lIns="0" tIns="0" rIns="0" bIns="0" rtlCol="0" anchor="t" anchorCtr="0">
            <a:noAutofit/>
          </a:bodyPr>
          <a:lstStyle/>
          <a:p>
            <a:r>
              <a:rPr lang="en-US"/>
              <a:t>Click to edit Master title style</a:t>
            </a:r>
          </a:p>
        </p:txBody>
      </p:sp>
      <p:sp>
        <p:nvSpPr>
          <p:cNvPr id="67" name="Footer Placeholder 66">
            <a:extLst>
              <a:ext uri="{FF2B5EF4-FFF2-40B4-BE49-F238E27FC236}">
                <a16:creationId xmlns:a16="http://schemas.microsoft.com/office/drawing/2014/main" id="{27DF4F35-707D-7AE3-40B3-DE4E98A3A06D}"/>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95" name="TextBox 94">
            <a:extLst>
              <a:ext uri="{FF2B5EF4-FFF2-40B4-BE49-F238E27FC236}">
                <a16:creationId xmlns:a16="http://schemas.microsoft.com/office/drawing/2014/main" id="{FA504D58-0E95-843B-D693-959DB54CB7A1}"/>
              </a:ext>
            </a:extLst>
          </p:cNvPr>
          <p:cNvSpPr txBox="1"/>
          <p:nvPr userDrawn="1"/>
        </p:nvSpPr>
        <p:spPr>
          <a:xfrm>
            <a:off x="493288" y="6562481"/>
            <a:ext cx="5029200" cy="107722"/>
          </a:xfrm>
          <a:prstGeom prst="rect">
            <a:avLst/>
          </a:prstGeom>
          <a:noFill/>
        </p:spPr>
        <p:txBody>
          <a:bodyPr wrap="square" lIns="0" tIns="0" rIns="0" bIns="0">
            <a:spAutoFit/>
          </a:bodyPr>
          <a:lstStyle/>
          <a:p>
            <a:r>
              <a:rPr lang="en-US" sz="700">
                <a:solidFill>
                  <a:schemeClr val="tx2"/>
                </a:solidFill>
              </a:rPr>
              <a:t>© 2024 Veeam Software. Confidential information. All rights reserved. All trademarks are the property of their respective owners. </a:t>
            </a:r>
          </a:p>
        </p:txBody>
      </p:sp>
      <mc:AlternateContent xmlns:mc="http://schemas.openxmlformats.org/markup-compatibility/2006" xmlns:p14="http://schemas.microsoft.com/office/powerpoint/2010/main">
        <mc:Choice Requires="p14">
          <p:contentPart p14:bwMode="auto" r:id="rId77">
            <p14:nvContentPartPr>
              <p14:cNvPr id="142" name="Ink 141">
                <a:extLst>
                  <a:ext uri="{FF2B5EF4-FFF2-40B4-BE49-F238E27FC236}">
                    <a16:creationId xmlns:a16="http://schemas.microsoft.com/office/drawing/2014/main" id="{199B0CB7-7F87-CA94-8B08-89B820EFB438}"/>
                  </a:ext>
                </a:extLst>
              </p14:cNvPr>
              <p14:cNvContentPartPr/>
              <p14:nvPr userDrawn="1"/>
            </p14:nvContentPartPr>
            <p14:xfrm>
              <a:off x="5523564" y="-1701176"/>
              <a:ext cx="360" cy="360"/>
            </p14:xfrm>
          </p:contentPart>
        </mc:Choice>
        <mc:Fallback xmlns="">
          <p:pic>
            <p:nvPicPr>
              <p:cNvPr id="142" name="Ink 141">
                <a:extLst>
                  <a:ext uri="{FF2B5EF4-FFF2-40B4-BE49-F238E27FC236}">
                    <a16:creationId xmlns:a16="http://schemas.microsoft.com/office/drawing/2014/main" id="{199B0CB7-7F87-CA94-8B08-89B820EFB438}"/>
                  </a:ext>
                </a:extLst>
              </p:cNvPr>
              <p:cNvPicPr/>
              <p:nvPr/>
            </p:nvPicPr>
            <p:blipFill>
              <a:blip r:embed="rId78"/>
              <a:stretch>
                <a:fillRect/>
              </a:stretch>
            </p:blipFill>
            <p:spPr>
              <a:xfrm>
                <a:off x="5514564" y="-1710176"/>
                <a:ext cx="18000" cy="18000"/>
              </a:xfrm>
              <a:prstGeom prst="rect">
                <a:avLst/>
              </a:prstGeom>
            </p:spPr>
          </p:pic>
        </mc:Fallback>
      </mc:AlternateContent>
      <p:pic>
        <p:nvPicPr>
          <p:cNvPr id="190" name="Graphic 189">
            <a:extLst>
              <a:ext uri="{FF2B5EF4-FFF2-40B4-BE49-F238E27FC236}">
                <a16:creationId xmlns:a16="http://schemas.microsoft.com/office/drawing/2014/main" id="{0716F319-54B2-5DA9-B260-5E49AC90CE13}"/>
              </a:ext>
            </a:extLst>
          </p:cNvPr>
          <p:cNvPicPr>
            <a:picLocks noChangeAspect="1"/>
          </p:cNvPicPr>
          <p:nvPr userDrawn="1"/>
        </p:nvPicPr>
        <p:blipFill rotWithShape="1">
          <a:blip r:embed="rId79" cstate="screen">
            <a:extLst>
              <a:ext uri="{28A0092B-C50C-407E-A947-70E740481C1C}">
                <a14:useLocalDpi xmlns:a14="http://schemas.microsoft.com/office/drawing/2010/main"/>
              </a:ext>
              <a:ext uri="{96DAC541-7B7A-43D3-8B79-37D633B846F1}">
                <asvg:svgBlip xmlns:asvg="http://schemas.microsoft.com/office/drawing/2016/SVG/main" r:embed="rId80"/>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533486435"/>
      </p:ext>
    </p:extLst>
  </p:cSld>
  <p:clrMap bg1="lt1" tx1="dk1" bg2="lt2" tx2="dk2" accent1="accent1" accent2="accent2" accent3="accent3" accent4="accent4" accent5="accent5" accent6="accent6" hlink="hlink" folHlink="folHlink"/>
  <p:sldLayoutIdLst>
    <p:sldLayoutId id="2147484205" r:id="rId1"/>
    <p:sldLayoutId id="2147484206" r:id="rId2"/>
    <p:sldLayoutId id="2147484250" r:id="rId3"/>
    <p:sldLayoutId id="2147484155" r:id="rId4"/>
    <p:sldLayoutId id="2147484212" r:id="rId5"/>
    <p:sldLayoutId id="2147484251" r:id="rId6"/>
    <p:sldLayoutId id="2147484252" r:id="rId7"/>
    <p:sldLayoutId id="2147484208" r:id="rId8"/>
    <p:sldLayoutId id="2147484209" r:id="rId9"/>
    <p:sldLayoutId id="2147484210" r:id="rId10"/>
    <p:sldLayoutId id="2147484225" r:id="rId11"/>
    <p:sldLayoutId id="2147484229" r:id="rId12"/>
    <p:sldLayoutId id="2147484201" r:id="rId13"/>
    <p:sldLayoutId id="2147484228" r:id="rId14"/>
    <p:sldLayoutId id="2147484230" r:id="rId15"/>
    <p:sldLayoutId id="2147484172" r:id="rId16"/>
    <p:sldLayoutId id="2147484226" r:id="rId17"/>
    <p:sldLayoutId id="2147484227" r:id="rId18"/>
    <p:sldLayoutId id="2147484253" r:id="rId19"/>
    <p:sldLayoutId id="2147484254" r:id="rId20"/>
    <p:sldLayoutId id="2147484255" r:id="rId21"/>
    <p:sldLayoutId id="2147484157" r:id="rId22"/>
    <p:sldLayoutId id="2147484159" r:id="rId23"/>
    <p:sldLayoutId id="2147484160" r:id="rId24"/>
    <p:sldLayoutId id="2147484164" r:id="rId25"/>
    <p:sldLayoutId id="2147484240" r:id="rId26"/>
    <p:sldLayoutId id="2147484242" r:id="rId27"/>
    <p:sldLayoutId id="2147484268" r:id="rId28"/>
    <p:sldLayoutId id="2147484269" r:id="rId29"/>
    <p:sldLayoutId id="2147484256" r:id="rId30"/>
    <p:sldLayoutId id="2147484257" r:id="rId31"/>
    <p:sldLayoutId id="2147484258" r:id="rId32"/>
    <p:sldLayoutId id="2147484259" r:id="rId33"/>
    <p:sldLayoutId id="2147484174" r:id="rId34"/>
    <p:sldLayoutId id="2147484232" r:id="rId35"/>
    <p:sldLayoutId id="2147484175" r:id="rId36"/>
    <p:sldLayoutId id="2147484233" r:id="rId37"/>
    <p:sldLayoutId id="2147484176" r:id="rId38"/>
    <p:sldLayoutId id="2147484234" r:id="rId39"/>
    <p:sldLayoutId id="2147484177" r:id="rId40"/>
    <p:sldLayoutId id="2147484235" r:id="rId41"/>
    <p:sldLayoutId id="2147484178" r:id="rId42"/>
    <p:sldLayoutId id="2147484236" r:id="rId43"/>
    <p:sldLayoutId id="2147484179" r:id="rId44"/>
    <p:sldLayoutId id="2147484237" r:id="rId45"/>
    <p:sldLayoutId id="2147484260" r:id="rId46"/>
    <p:sldLayoutId id="2147484261" r:id="rId47"/>
    <p:sldLayoutId id="2147484243" r:id="rId48"/>
    <p:sldLayoutId id="2147484244" r:id="rId49"/>
    <p:sldLayoutId id="2147484245" r:id="rId50"/>
    <p:sldLayoutId id="2147484246" r:id="rId51"/>
    <p:sldLayoutId id="2147484247" r:id="rId52"/>
    <p:sldLayoutId id="2147484248" r:id="rId53"/>
    <p:sldLayoutId id="2147484262" r:id="rId54"/>
    <p:sldLayoutId id="2147484182" r:id="rId55"/>
    <p:sldLayoutId id="2147484183" r:id="rId56"/>
    <p:sldLayoutId id="2147484184" r:id="rId57"/>
    <p:sldLayoutId id="2147484185" r:id="rId58"/>
    <p:sldLayoutId id="2147484186" r:id="rId59"/>
    <p:sldLayoutId id="2147484187" r:id="rId60"/>
    <p:sldLayoutId id="2147484264" r:id="rId61"/>
    <p:sldLayoutId id="2147484189" r:id="rId62"/>
    <p:sldLayoutId id="2147484190" r:id="rId63"/>
    <p:sldLayoutId id="2147484191" r:id="rId64"/>
    <p:sldLayoutId id="2147484192" r:id="rId65"/>
    <p:sldLayoutId id="2147484193" r:id="rId66"/>
    <p:sldLayoutId id="2147484194" r:id="rId67"/>
    <p:sldLayoutId id="2147484263" r:id="rId68"/>
    <p:sldLayoutId id="2147484202" r:id="rId69"/>
    <p:sldLayoutId id="2147484215" r:id="rId70"/>
    <p:sldLayoutId id="2147484219" r:id="rId71"/>
    <p:sldLayoutId id="2147484220" r:id="rId72"/>
    <p:sldLayoutId id="2147484221" r:id="rId73"/>
    <p:sldLayoutId id="2147484270" r:id="rId74"/>
    <p:sldLayoutId id="2147484204" r:id="rId75"/>
  </p:sldLayoutIdLst>
  <p:hf sldNum="0" hdr="0" dt="0"/>
  <p:txStyles>
    <p:titleStyle>
      <a:lvl1pPr algn="l" defTabSz="914400" rtl="0" eaLnBrk="1" latinLnBrk="0" hangingPunct="1">
        <a:lnSpc>
          <a:spcPct val="90000"/>
        </a:lnSpc>
        <a:spcBef>
          <a:spcPct val="0"/>
        </a:spcBef>
        <a:buNone/>
        <a:defRPr sz="3400" b="0" i="0" kern="1200">
          <a:solidFill>
            <a:schemeClr val="tx1"/>
          </a:solidFill>
          <a:latin typeface="ES Build" pitchFamily="2" charset="77"/>
          <a:ea typeface="ES Build" pitchFamily="2" charset="77"/>
          <a:cs typeface="+mj-cs"/>
        </a:defRPr>
      </a:lvl1pPr>
    </p:titleStyle>
    <p:bodyStyle>
      <a:lvl1pPr marL="0" indent="0" algn="l" defTabSz="914400" rtl="0" eaLnBrk="1" latinLnBrk="0" hangingPunct="1">
        <a:lnSpc>
          <a:spcPct val="96000"/>
        </a:lnSpc>
        <a:spcBef>
          <a:spcPts val="1200"/>
        </a:spcBef>
        <a:spcAft>
          <a:spcPts val="600"/>
        </a:spcAft>
        <a:buClrTx/>
        <a:buFont typeface="Calibri" panose="020F0502020204030204" pitchFamily="34" charset="0"/>
        <a:buChar char="​"/>
        <a:tabLst/>
        <a:defRPr sz="2100" b="0" i="0" kern="1200">
          <a:solidFill>
            <a:schemeClr val="tx1"/>
          </a:solidFill>
          <a:latin typeface="ES Build Neutral" pitchFamily="2" charset="77"/>
          <a:ea typeface="ES Build Neutral" pitchFamily="2" charset="77"/>
          <a:cs typeface="+mn-cs"/>
        </a:defRPr>
      </a:lvl1pPr>
      <a:lvl2pPr marL="173736" indent="-173736" algn="l" defTabSz="914400" rtl="0" eaLnBrk="1" latinLnBrk="0" hangingPunct="1">
        <a:lnSpc>
          <a:spcPct val="96000"/>
        </a:lnSpc>
        <a:spcBef>
          <a:spcPts val="300"/>
        </a:spcBef>
        <a:spcAft>
          <a:spcPts val="150"/>
        </a:spcAft>
        <a:buClrTx/>
        <a:buFont typeface="Arial" panose="020B0604020202020204" pitchFamily="34" charset="0"/>
        <a:buChar char="•"/>
        <a:tabLst/>
        <a:defRPr sz="2100" b="0" i="0" kern="1200">
          <a:solidFill>
            <a:schemeClr val="tx1"/>
          </a:solidFill>
          <a:latin typeface="ES Build Neutral" pitchFamily="2" charset="77"/>
          <a:ea typeface="ES Build Neutral" pitchFamily="2" charset="77"/>
          <a:cs typeface="+mn-cs"/>
        </a:defRPr>
      </a:lvl2pPr>
      <a:lvl3pPr marL="342900" indent="-171450" algn="l" defTabSz="914400" rtl="0" eaLnBrk="1" latinLnBrk="0" hangingPunct="1">
        <a:lnSpc>
          <a:spcPct val="96000"/>
        </a:lnSpc>
        <a:spcBef>
          <a:spcPts val="300"/>
        </a:spcBef>
        <a:spcAft>
          <a:spcPts val="150"/>
        </a:spcAft>
        <a:buClrTx/>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3pPr>
      <a:lvl4pPr marL="576072" indent="-173736" algn="l" defTabSz="914400" rtl="0" eaLnBrk="1" latinLnBrk="0" hangingPunct="1">
        <a:lnSpc>
          <a:spcPct val="96000"/>
        </a:lnSpc>
        <a:spcBef>
          <a:spcPts val="300"/>
        </a:spcBef>
        <a:spcAft>
          <a:spcPts val="150"/>
        </a:spcAft>
        <a:buClrTx/>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4pPr>
      <a:lvl5pPr marL="731520" indent="-173736" algn="l" defTabSz="914400" rtl="0" eaLnBrk="1" latinLnBrk="0" hangingPunct="1">
        <a:lnSpc>
          <a:spcPct val="96000"/>
        </a:lnSpc>
        <a:spcBef>
          <a:spcPts val="300"/>
        </a:spcBef>
        <a:spcAft>
          <a:spcPts val="150"/>
        </a:spcAft>
        <a:buFont typeface="Arial" panose="020B0604020202020204" pitchFamily="34" charset="0"/>
        <a:buChar char="•"/>
        <a:tabLst/>
        <a:defRPr sz="1400" b="0" i="0" kern="1200">
          <a:solidFill>
            <a:schemeClr val="tx1"/>
          </a:solidFill>
          <a:latin typeface="ES Build Neutral" pitchFamily="2" charset="77"/>
          <a:ea typeface="ES Build Neutral" pitchFamily="2" charset="77"/>
          <a:cs typeface="+mn-cs"/>
        </a:defRPr>
      </a:lvl5pPr>
      <a:lvl6pPr marL="11113" indent="0" algn="l" defTabSz="914400" rtl="0" eaLnBrk="1" latinLnBrk="0" hangingPunct="1">
        <a:lnSpc>
          <a:spcPct val="96000"/>
        </a:lnSpc>
        <a:spcBef>
          <a:spcPts val="600"/>
        </a:spcBef>
        <a:spcAft>
          <a:spcPts val="300"/>
        </a:spcAft>
        <a:buFont typeface="System Font Regular"/>
        <a:buChar char="​"/>
        <a:tabLst/>
        <a:defRPr sz="1600" b="0" i="0" kern="1200">
          <a:solidFill>
            <a:schemeClr val="tx1"/>
          </a:solidFill>
          <a:latin typeface="ES Build Neutral" pitchFamily="2" charset="77"/>
          <a:ea typeface="ES Build Neutral" pitchFamily="2" charset="77"/>
          <a:cs typeface="+mn-cs"/>
        </a:defRPr>
      </a:lvl6pPr>
      <a:lvl7pPr marL="11113" indent="0" algn="l" defTabSz="914400" rtl="0" eaLnBrk="1" latinLnBrk="0" hangingPunct="1">
        <a:lnSpc>
          <a:spcPct val="96000"/>
        </a:lnSpc>
        <a:spcBef>
          <a:spcPts val="600"/>
        </a:spcBef>
        <a:spcAft>
          <a:spcPts val="300"/>
        </a:spcAft>
        <a:buFont typeface="System Font Regular"/>
        <a:buChar char="​"/>
        <a:tabLst/>
        <a:defRPr sz="1600" b="0" i="0" kern="1200">
          <a:solidFill>
            <a:schemeClr val="tx1"/>
          </a:solidFill>
          <a:latin typeface="ES Build Neutral" pitchFamily="2" charset="77"/>
          <a:ea typeface="ES Build Neutral" pitchFamily="2" charset="77"/>
          <a:cs typeface="+mn-cs"/>
        </a:defRPr>
      </a:lvl7pPr>
      <a:lvl8pPr marL="0" indent="0" algn="l" defTabSz="914400" rtl="0" eaLnBrk="1" latinLnBrk="0" hangingPunct="1">
        <a:lnSpc>
          <a:spcPct val="84000"/>
        </a:lnSpc>
        <a:spcBef>
          <a:spcPts val="300"/>
        </a:spcBef>
        <a:buFont typeface="System Font Regular"/>
        <a:buChar char="​"/>
        <a:tabLst/>
        <a:defRPr sz="5500" b="0" i="0" kern="1200" spc="-150" baseline="0">
          <a:solidFill>
            <a:srgbClr val="8E71F4"/>
          </a:solidFill>
          <a:latin typeface="ES Build Neutral" pitchFamily="2" charset="77"/>
          <a:ea typeface="ES Build Neutral" pitchFamily="2" charset="77"/>
          <a:cs typeface="+mn-cs"/>
        </a:defRPr>
      </a:lvl8pPr>
      <a:lvl9pPr marL="11113" indent="0" algn="l" defTabSz="914400" rtl="0" eaLnBrk="1" latinLnBrk="0" hangingPunct="1">
        <a:lnSpc>
          <a:spcPct val="84000"/>
        </a:lnSpc>
        <a:spcBef>
          <a:spcPts val="0"/>
        </a:spcBef>
        <a:buFont typeface="System Font Regular"/>
        <a:buChar char="​"/>
        <a:tabLst/>
        <a:defRPr sz="11000" b="0" i="0" kern="1200" spc="-300">
          <a:solidFill>
            <a:srgbClr val="8E71F4"/>
          </a:solidFill>
          <a:latin typeface="ES Build Neutral" pitchFamily="2" charset="77"/>
          <a:ea typeface="ES Build Neutral" pitchFamily="2" charset="77"/>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62" userDrawn="1">
          <p15:clr>
            <a:srgbClr val="F26B43"/>
          </p15:clr>
        </p15:guide>
        <p15:guide id="2" userDrawn="1">
          <p15:clr>
            <a:srgbClr val="F26B43"/>
          </p15:clr>
        </p15:guide>
        <p15:guide id="3" pos="7679" userDrawn="1">
          <p15:clr>
            <a:srgbClr val="F26B43"/>
          </p15:clr>
        </p15:guide>
        <p15:guide id="4" orient="horz" pos="1078" userDrawn="1">
          <p15:clr>
            <a:srgbClr val="F26B43"/>
          </p15:clr>
        </p15:guide>
        <p15:guide id="5" orient="horz" pos="646" userDrawn="1">
          <p15:clr>
            <a:srgbClr val="F26B43"/>
          </p15:clr>
        </p15:guide>
        <p15:guide id="6" orient="horz" pos="430" userDrawn="1">
          <p15:clr>
            <a:srgbClr val="F26B43"/>
          </p15:clr>
        </p15:guide>
        <p15:guide id="7" orient="horz" pos="214" userDrawn="1">
          <p15:clr>
            <a:srgbClr val="F26B43"/>
          </p15:clr>
        </p15:guide>
        <p15:guide id="8" orient="horz" pos="1942" userDrawn="1">
          <p15:clr>
            <a:srgbClr val="F26B43"/>
          </p15:clr>
        </p15:guide>
        <p15:guide id="9" orient="horz" pos="2158" userDrawn="1">
          <p15:clr>
            <a:srgbClr val="F26B43"/>
          </p15:clr>
        </p15:guide>
        <p15:guide id="10" orient="horz" pos="1726" userDrawn="1">
          <p15:clr>
            <a:srgbClr val="F26B43"/>
          </p15:clr>
        </p15:guide>
        <p15:guide id="11" orient="horz" pos="1510" userDrawn="1">
          <p15:clr>
            <a:srgbClr val="F26B43"/>
          </p15:clr>
        </p15:guide>
        <p15:guide id="12" orient="horz" pos="3022" userDrawn="1">
          <p15:clr>
            <a:srgbClr val="F26B43"/>
          </p15:clr>
        </p15:guide>
        <p15:guide id="13" orient="horz" pos="3238" userDrawn="1">
          <p15:clr>
            <a:srgbClr val="F26B43"/>
          </p15:clr>
        </p15:guide>
        <p15:guide id="14" orient="horz" pos="2806" userDrawn="1">
          <p15:clr>
            <a:srgbClr val="F26B43"/>
          </p15:clr>
        </p15:guide>
        <p15:guide id="15" orient="horz" pos="2590" userDrawn="1">
          <p15:clr>
            <a:srgbClr val="F26B43"/>
          </p15:clr>
        </p15:guide>
        <p15:guide id="16" orient="horz" pos="2374" userDrawn="1">
          <p15:clr>
            <a:srgbClr val="F26B43"/>
          </p15:clr>
        </p15:guide>
        <p15:guide id="17" orient="horz" pos="4102" userDrawn="1">
          <p15:clr>
            <a:srgbClr val="F26B43"/>
          </p15:clr>
        </p15:guide>
        <p15:guide id="18" orient="horz" pos="4318" userDrawn="1">
          <p15:clr>
            <a:srgbClr val="F26B43"/>
          </p15:clr>
        </p15:guide>
        <p15:guide id="19" orient="horz" pos="3886" userDrawn="1">
          <p15:clr>
            <a:srgbClr val="F26B43"/>
          </p15:clr>
        </p15:guide>
        <p15:guide id="20" orient="horz" pos="3670" userDrawn="1">
          <p15:clr>
            <a:srgbClr val="F26B43"/>
          </p15:clr>
        </p15:guide>
        <p15:guide id="21" orient="horz" pos="3454" userDrawn="1">
          <p15:clr>
            <a:srgbClr val="F26B43"/>
          </p15:clr>
        </p15:guide>
        <p15:guide id="22" orient="horz" pos="286" userDrawn="1">
          <p15:clr>
            <a:srgbClr val="F26B43"/>
          </p15:clr>
        </p15:guide>
        <p15:guide id="23" orient="horz" pos="4030" userDrawn="1">
          <p15:clr>
            <a:srgbClr val="F26B43"/>
          </p15:clr>
        </p15:guide>
        <p15:guide id="24" pos="6919" userDrawn="1">
          <p15:clr>
            <a:srgbClr val="F26B43"/>
          </p15:clr>
        </p15:guide>
        <p15:guide id="25" pos="7368" userDrawn="1">
          <p15:clr>
            <a:srgbClr val="F26B43"/>
          </p15:clr>
        </p15:guide>
        <p15:guide id="26" pos="311" userDrawn="1">
          <p15:clr>
            <a:srgbClr val="F26B43"/>
          </p15:clr>
        </p15:guide>
        <p15:guide id="27" pos="760" userDrawn="1">
          <p15:clr>
            <a:srgbClr val="F26B43"/>
          </p15:clr>
        </p15:guide>
        <p15:guide id="28" pos="911" userDrawn="1">
          <p15:clr>
            <a:srgbClr val="F26B43"/>
          </p15:clr>
        </p15:guide>
        <p15:guide id="29" pos="1361" userDrawn="1">
          <p15:clr>
            <a:srgbClr val="F26B43"/>
          </p15:clr>
        </p15:guide>
        <p15:guide id="30" pos="1512" userDrawn="1">
          <p15:clr>
            <a:srgbClr val="F26B43"/>
          </p15:clr>
        </p15:guide>
        <p15:guide id="31" pos="1961" userDrawn="1">
          <p15:clr>
            <a:srgbClr val="F26B43"/>
          </p15:clr>
        </p15:guide>
        <p15:guide id="32" pos="2113" userDrawn="1">
          <p15:clr>
            <a:srgbClr val="F26B43"/>
          </p15:clr>
        </p15:guide>
        <p15:guide id="33" pos="2562" userDrawn="1">
          <p15:clr>
            <a:srgbClr val="F26B43"/>
          </p15:clr>
        </p15:guide>
        <p15:guide id="34" pos="2714" userDrawn="1">
          <p15:clr>
            <a:srgbClr val="F26B43"/>
          </p15:clr>
        </p15:guide>
        <p15:guide id="35" pos="3163" userDrawn="1">
          <p15:clr>
            <a:srgbClr val="F26B43"/>
          </p15:clr>
        </p15:guide>
        <p15:guide id="36" pos="3314" userDrawn="1">
          <p15:clr>
            <a:srgbClr val="F26B43"/>
          </p15:clr>
        </p15:guide>
        <p15:guide id="37" pos="3764" userDrawn="1">
          <p15:clr>
            <a:srgbClr val="F26B43"/>
          </p15:clr>
        </p15:guide>
        <p15:guide id="38" pos="3915" userDrawn="1">
          <p15:clr>
            <a:srgbClr val="F26B43"/>
          </p15:clr>
        </p15:guide>
        <p15:guide id="39" pos="4365" userDrawn="1">
          <p15:clr>
            <a:srgbClr val="F26B43"/>
          </p15:clr>
        </p15:guide>
        <p15:guide id="40" pos="4516" userDrawn="1">
          <p15:clr>
            <a:srgbClr val="F26B43"/>
          </p15:clr>
        </p15:guide>
        <p15:guide id="41" pos="4965" userDrawn="1">
          <p15:clr>
            <a:srgbClr val="F26B43"/>
          </p15:clr>
        </p15:guide>
        <p15:guide id="42" pos="5117" userDrawn="1">
          <p15:clr>
            <a:srgbClr val="F26B43"/>
          </p15:clr>
        </p15:guide>
        <p15:guide id="43" pos="5566" userDrawn="1">
          <p15:clr>
            <a:srgbClr val="F26B43"/>
          </p15:clr>
        </p15:guide>
        <p15:guide id="44" pos="5718" userDrawn="1">
          <p15:clr>
            <a:srgbClr val="F26B43"/>
          </p15:clr>
        </p15:guide>
        <p15:guide id="45" pos="6167" userDrawn="1">
          <p15:clr>
            <a:srgbClr val="F26B43"/>
          </p15:clr>
        </p15:guide>
        <p15:guide id="46" pos="6318" userDrawn="1">
          <p15:clr>
            <a:srgbClr val="F26B43"/>
          </p15:clr>
        </p15:guide>
        <p15:guide id="47" pos="6768" userDrawn="1">
          <p15:clr>
            <a:srgbClr val="F26B43"/>
          </p15:clr>
        </p15:guide>
        <p15:guide id="48" orient="horz" pos="1" userDrawn="1">
          <p15:clr>
            <a:srgbClr val="F26B43"/>
          </p15:clr>
        </p15:guide>
        <p15:guide id="49" pos="7144" userDrawn="1">
          <p15:clr>
            <a:srgbClr val="F26B43"/>
          </p15:clr>
        </p15:guide>
        <p15:guide id="50" pos="535" userDrawn="1">
          <p15:clr>
            <a:srgbClr val="F26B43"/>
          </p15:clr>
        </p15:guide>
        <p15:guide id="51" pos="1136" userDrawn="1">
          <p15:clr>
            <a:srgbClr val="F26B43"/>
          </p15:clr>
        </p15:guide>
        <p15:guide id="52" pos="1737" userDrawn="1">
          <p15:clr>
            <a:srgbClr val="F26B43"/>
          </p15:clr>
        </p15:guide>
        <p15:guide id="53" pos="2338" userDrawn="1">
          <p15:clr>
            <a:srgbClr val="F26B43"/>
          </p15:clr>
        </p15:guide>
        <p15:guide id="54" pos="2938" userDrawn="1">
          <p15:clr>
            <a:srgbClr val="F26B43"/>
          </p15:clr>
        </p15:guide>
        <p15:guide id="55" pos="3539" userDrawn="1">
          <p15:clr>
            <a:srgbClr val="F26B43"/>
          </p15:clr>
        </p15:guide>
        <p15:guide id="56" pos="4140" userDrawn="1">
          <p15:clr>
            <a:srgbClr val="F26B43"/>
          </p15:clr>
        </p15:guide>
        <p15:guide id="57" pos="4741" userDrawn="1">
          <p15:clr>
            <a:srgbClr val="F26B43"/>
          </p15:clr>
        </p15:guide>
        <p15:guide id="58" pos="5341" userDrawn="1">
          <p15:clr>
            <a:srgbClr val="F26B43"/>
          </p15:clr>
        </p15:guide>
        <p15:guide id="59" pos="5942" userDrawn="1">
          <p15:clr>
            <a:srgbClr val="F26B43"/>
          </p15:clr>
        </p15:guide>
        <p15:guide id="60" pos="6543" userDrawn="1">
          <p15:clr>
            <a:srgbClr val="F26B43"/>
          </p15:clr>
        </p15:guide>
        <p15:guide id="61" orient="horz" pos="1294" userDrawn="1">
          <p15:clr>
            <a:srgbClr val="F26B43"/>
          </p15:clr>
        </p15:guide>
        <p15:guide id="62" pos="767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16.xml"/><Relationship Id="rId5" Type="http://schemas.openxmlformats.org/officeDocument/2006/relationships/image" Target="../media/image45.png"/><Relationship Id="rId4" Type="http://schemas.openxmlformats.org/officeDocument/2006/relationships/image" Target="../media/image4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5.xml.rels><?xml version="1.0" encoding="UTF-8" standalone="yes"?>
<Relationships xmlns="http://schemas.openxmlformats.org/package/2006/relationships"><Relationship Id="rId3" Type="http://schemas.openxmlformats.org/officeDocument/2006/relationships/hyperlink" Target="https://learn.microsoft.com/en-us/powershell/module/microsoft.powershell.core/about/about_functions_advanced_parameters?view=powershell-7.4" TargetMode="External"/><Relationship Id="rId2" Type="http://schemas.openxmlformats.org/officeDocument/2006/relationships/notesSlide" Target="../notesSlides/notesSlide12.xml"/><Relationship Id="rId1" Type="http://schemas.openxmlformats.org/officeDocument/2006/relationships/slideLayout" Target="../slideLayouts/slideLayout16.xml"/><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47.gif"/><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image" Target="../media/image49.gif"/></Relationships>
</file>

<file path=ppt/slides/_rels/slide19.xml.rels><?xml version="1.0" encoding="UTF-8" standalone="yes"?>
<Relationships xmlns="http://schemas.openxmlformats.org/package/2006/relationships"><Relationship Id="rId3" Type="http://schemas.openxmlformats.org/officeDocument/2006/relationships/hyperlink" Target="https://learn.microsoft.com/en-us/powershell/module/microsoft.powershell.core/about/about_parameter_sets?view=powershell-7.4" TargetMode="External"/><Relationship Id="rId2" Type="http://schemas.openxmlformats.org/officeDocument/2006/relationships/notesSlide" Target="../notesSlides/notesSlide16.xml"/><Relationship Id="rId1" Type="http://schemas.openxmlformats.org/officeDocument/2006/relationships/slideLayout" Target="../slideLayouts/slideLayout16.xml"/><Relationship Id="rId5" Type="http://schemas.openxmlformats.org/officeDocument/2006/relationships/image" Target="../media/image37.png"/><Relationship Id="rId4" Type="http://schemas.openxmlformats.org/officeDocument/2006/relationships/image" Target="../media/image50.png"/></Relationships>
</file>

<file path=ppt/slides/_rels/slide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jpeg"/></Relationships>
</file>

<file path=ppt/slides/_rels/slide20.xml.rels><?xml version="1.0" encoding="UTF-8" standalone="yes"?>
<Relationships xmlns="http://schemas.openxmlformats.org/package/2006/relationships"><Relationship Id="rId3" Type="http://schemas.openxmlformats.org/officeDocument/2006/relationships/hyperlink" Target="https://ss64.com/ps/psboundparameters.html" TargetMode="External"/><Relationship Id="rId2" Type="http://schemas.openxmlformats.org/officeDocument/2006/relationships/notesSlide" Target="../notesSlides/notesSlide17.xml"/><Relationship Id="rId1" Type="http://schemas.openxmlformats.org/officeDocument/2006/relationships/slideLayout" Target="../slideLayouts/slideLayout16.xml"/><Relationship Id="rId5" Type="http://schemas.openxmlformats.org/officeDocument/2006/relationships/hyperlink" Target="https://ss64.com/ps/syntax-myinvocation.html" TargetMode="External"/><Relationship Id="rId4" Type="http://schemas.openxmlformats.org/officeDocument/2006/relationships/hyperlink" Target="https://ss64.com/ps/syntax-args.html"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8.xml"/><Relationship Id="rId1" Type="http://schemas.openxmlformats.org/officeDocument/2006/relationships/slideLayout" Target="../slideLayouts/slideLayout35.xml"/><Relationship Id="rId4" Type="http://schemas.openxmlformats.org/officeDocument/2006/relationships/image" Target="../media/image52.png"/></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16.xml"/><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hyperlink" Target="https://learn.microsoft.com/en-us/powershell/scripting/learn/deep-dives/everything-about-null?view=powershell-7.4#checking-for-null" TargetMode="External"/><Relationship Id="rId2" Type="http://schemas.openxmlformats.org/officeDocument/2006/relationships/notesSlide" Target="../notesSlides/notesSlide23.xml"/><Relationship Id="rId1" Type="http://schemas.openxmlformats.org/officeDocument/2006/relationships/slideLayout" Target="../slideLayouts/slideLayout16.xml"/><Relationship Id="rId4" Type="http://schemas.openxmlformats.org/officeDocument/2006/relationships/image" Target="../media/image56.png"/></Relationships>
</file>

<file path=ppt/slides/_rels/slide27.xml.rels><?xml version="1.0" encoding="UTF-8" standalone="yes"?>
<Relationships xmlns="http://schemas.openxmlformats.org/package/2006/relationships"><Relationship Id="rId3" Type="http://schemas.openxmlformats.org/officeDocument/2006/relationships/hyperlink" Target="https://learn.microsoft.com/en-us/powershell/module/microsoft.powershell.core/about/about_try_catch_finally?view=powershell-7.4" TargetMode="External"/><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22.xml"/><Relationship Id="rId4" Type="http://schemas.openxmlformats.org/officeDocument/2006/relationships/hyperlink" Target="https://github.com/ddomask/v100-summit-berlin2024-powershell-deepdive" TargetMode="Externa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9.xml"/><Relationship Id="rId1" Type="http://schemas.openxmlformats.org/officeDocument/2006/relationships/slideLayout" Target="../slideLayouts/slideLayout16.xml"/><Relationship Id="rId5" Type="http://schemas.openxmlformats.org/officeDocument/2006/relationships/image" Target="../media/image61.png"/><Relationship Id="rId4" Type="http://schemas.openxmlformats.org/officeDocument/2006/relationships/image" Target="../media/image60.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16.xml"/><Relationship Id="rId4" Type="http://schemas.openxmlformats.org/officeDocument/2006/relationships/image" Target="../media/image39.png"/></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DF2438F-BD51-78AE-7C55-1AE6B8C934D9}"/>
              </a:ext>
            </a:extLst>
          </p:cNvPr>
          <p:cNvSpPr>
            <a:spLocks noGrp="1"/>
          </p:cNvSpPr>
          <p:nvPr>
            <p:ph type="ctrTitle"/>
          </p:nvPr>
        </p:nvSpPr>
        <p:spPr>
          <a:xfrm>
            <a:off x="793751" y="1731962"/>
            <a:ext cx="10536764" cy="2581299"/>
          </a:xfrm>
        </p:spPr>
        <p:txBody>
          <a:bodyPr>
            <a:normAutofit/>
          </a:bodyPr>
          <a:lstStyle/>
          <a:p>
            <a:r>
              <a:rPr lang="en-US" sz="4400"/>
              <a:t>Sane PowerShell Script Design</a:t>
            </a:r>
          </a:p>
        </p:txBody>
      </p:sp>
      <p:sp>
        <p:nvSpPr>
          <p:cNvPr id="2" name="Subtitle 9">
            <a:extLst>
              <a:ext uri="{FF2B5EF4-FFF2-40B4-BE49-F238E27FC236}">
                <a16:creationId xmlns:a16="http://schemas.microsoft.com/office/drawing/2014/main" id="{18571064-416A-FA08-01AB-869D314F691B}"/>
              </a:ext>
            </a:extLst>
          </p:cNvPr>
          <p:cNvSpPr>
            <a:spLocks noGrp="1"/>
          </p:cNvSpPr>
          <p:nvPr>
            <p:ph type="subTitle" idx="1"/>
          </p:nvPr>
        </p:nvSpPr>
        <p:spPr>
          <a:xfrm>
            <a:off x="793751" y="4316414"/>
            <a:ext cx="10536764" cy="487705"/>
          </a:xfrm>
        </p:spPr>
        <p:txBody>
          <a:bodyPr/>
          <a:lstStyle/>
          <a:p>
            <a:r>
              <a:rPr lang="en-US"/>
              <a:t>October 2024</a:t>
            </a:r>
          </a:p>
        </p:txBody>
      </p:sp>
      <p:sp>
        <p:nvSpPr>
          <p:cNvPr id="3" name="Text Placeholder 6">
            <a:extLst>
              <a:ext uri="{FF2B5EF4-FFF2-40B4-BE49-F238E27FC236}">
                <a16:creationId xmlns:a16="http://schemas.microsoft.com/office/drawing/2014/main" id="{8CAED750-E1A5-E53D-05E7-6DD513FF5451}"/>
              </a:ext>
            </a:extLst>
          </p:cNvPr>
          <p:cNvSpPr txBox="1">
            <a:spLocks/>
          </p:cNvSpPr>
          <p:nvPr/>
        </p:nvSpPr>
        <p:spPr>
          <a:xfrm>
            <a:off x="6416181" y="5012908"/>
            <a:ext cx="3767137" cy="682625"/>
          </a:xfrm>
          <a:prstGeom prst="rect">
            <a:avLst/>
          </a:prstGeom>
        </p:spPr>
        <p:txBody>
          <a:bodyPr vert="horz" lIns="0" tIns="0" rIns="0" bIns="0" rtlCol="0">
            <a:noAutofit/>
          </a:bodyPr>
          <a:lstStyle>
            <a:lvl1pPr marL="0" indent="0" algn="l" defTabSz="914400" rtl="0" eaLnBrk="1" latinLnBrk="0" hangingPunct="1">
              <a:lnSpc>
                <a:spcPct val="80000"/>
              </a:lnSpc>
              <a:spcBef>
                <a:spcPts val="1200"/>
              </a:spcBef>
              <a:spcAft>
                <a:spcPts val="600"/>
              </a:spcAft>
              <a:buClrTx/>
              <a:buFont typeface="Calibri" panose="020F0502020204030204" pitchFamily="34" charset="0"/>
              <a:buNone/>
              <a:tabLst/>
              <a:defRPr sz="2400" b="0" i="0" kern="1200">
                <a:solidFill>
                  <a:schemeClr val="accent1"/>
                </a:solidFill>
                <a:latin typeface="ES Build "/>
                <a:ea typeface="ES Build Neutral" pitchFamily="2" charset="77"/>
                <a:cs typeface="+mn-cs"/>
              </a:defRPr>
            </a:lvl1pPr>
            <a:lvl2pPr marL="0" indent="0" algn="l" defTabSz="914400" rtl="0" eaLnBrk="1" latinLnBrk="0" hangingPunct="1">
              <a:lnSpc>
                <a:spcPct val="80000"/>
              </a:lnSpc>
              <a:spcBef>
                <a:spcPts val="300"/>
              </a:spcBef>
              <a:spcAft>
                <a:spcPts val="150"/>
              </a:spcAft>
              <a:buClrTx/>
              <a:buFont typeface="Arial" panose="020B0604020202020204" pitchFamily="34" charset="0"/>
              <a:buNone/>
              <a:tabLst/>
              <a:defRPr sz="1600" b="0" i="0" kern="1200">
                <a:solidFill>
                  <a:schemeClr val="accent1"/>
                </a:solidFill>
                <a:latin typeface="ES Build Neutral" pitchFamily="2" charset="77"/>
                <a:ea typeface="ES Build Neutral" pitchFamily="2" charset="77"/>
                <a:cs typeface="+mn-cs"/>
              </a:defRPr>
            </a:lvl2pPr>
            <a:lvl3pPr marL="342900" indent="-171450" algn="l" defTabSz="914400" rtl="0" eaLnBrk="1" latinLnBrk="0" hangingPunct="1">
              <a:lnSpc>
                <a:spcPct val="96000"/>
              </a:lnSpc>
              <a:spcBef>
                <a:spcPts val="300"/>
              </a:spcBef>
              <a:spcAft>
                <a:spcPts val="150"/>
              </a:spcAft>
              <a:buClrTx/>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3pPr>
            <a:lvl4pPr marL="576072" indent="-173736" algn="l" defTabSz="914400" rtl="0" eaLnBrk="1" latinLnBrk="0" hangingPunct="1">
              <a:lnSpc>
                <a:spcPct val="96000"/>
              </a:lnSpc>
              <a:spcBef>
                <a:spcPts val="300"/>
              </a:spcBef>
              <a:spcAft>
                <a:spcPts val="150"/>
              </a:spcAft>
              <a:buClrTx/>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4pPr>
            <a:lvl5pPr marL="731520" indent="-173736" algn="l" defTabSz="914400" rtl="0" eaLnBrk="1" latinLnBrk="0" hangingPunct="1">
              <a:lnSpc>
                <a:spcPct val="96000"/>
              </a:lnSpc>
              <a:spcBef>
                <a:spcPts val="300"/>
              </a:spcBef>
              <a:spcAft>
                <a:spcPts val="150"/>
              </a:spcAft>
              <a:buFont typeface="Arial" panose="020B0604020202020204" pitchFamily="34" charset="0"/>
              <a:buChar char="•"/>
              <a:tabLst/>
              <a:defRPr sz="1400" b="0" i="0" kern="1200">
                <a:solidFill>
                  <a:schemeClr val="tx1"/>
                </a:solidFill>
                <a:latin typeface="ES Build Neutral" pitchFamily="2" charset="77"/>
                <a:ea typeface="ES Build Neutral" pitchFamily="2" charset="77"/>
                <a:cs typeface="+mn-cs"/>
              </a:defRPr>
            </a:lvl5pPr>
            <a:lvl6pPr marL="11113" indent="0" algn="l" defTabSz="914400" rtl="0" eaLnBrk="1" latinLnBrk="0" hangingPunct="1">
              <a:lnSpc>
                <a:spcPct val="96000"/>
              </a:lnSpc>
              <a:spcBef>
                <a:spcPts val="600"/>
              </a:spcBef>
              <a:spcAft>
                <a:spcPts val="300"/>
              </a:spcAft>
              <a:buFont typeface="System Font Regular"/>
              <a:buChar char="​"/>
              <a:tabLst/>
              <a:defRPr sz="1600" b="0" i="0" kern="1200">
                <a:solidFill>
                  <a:schemeClr val="tx1"/>
                </a:solidFill>
                <a:latin typeface="ES Build Neutral" pitchFamily="2" charset="77"/>
                <a:ea typeface="ES Build Neutral" pitchFamily="2" charset="77"/>
                <a:cs typeface="+mn-cs"/>
              </a:defRPr>
            </a:lvl6pPr>
            <a:lvl7pPr marL="11113" indent="0" algn="l" defTabSz="914400" rtl="0" eaLnBrk="1" latinLnBrk="0" hangingPunct="1">
              <a:lnSpc>
                <a:spcPct val="96000"/>
              </a:lnSpc>
              <a:spcBef>
                <a:spcPts val="600"/>
              </a:spcBef>
              <a:spcAft>
                <a:spcPts val="300"/>
              </a:spcAft>
              <a:buFont typeface="System Font Regular"/>
              <a:buChar char="​"/>
              <a:tabLst/>
              <a:defRPr sz="1600" b="0" i="0" kern="1200">
                <a:solidFill>
                  <a:schemeClr val="tx1"/>
                </a:solidFill>
                <a:latin typeface="ES Build Neutral" pitchFamily="2" charset="77"/>
                <a:ea typeface="ES Build Neutral" pitchFamily="2" charset="77"/>
                <a:cs typeface="+mn-cs"/>
              </a:defRPr>
            </a:lvl7pPr>
            <a:lvl8pPr marL="0" indent="0" algn="l" defTabSz="914400" rtl="0" eaLnBrk="1" latinLnBrk="0" hangingPunct="1">
              <a:lnSpc>
                <a:spcPct val="84000"/>
              </a:lnSpc>
              <a:spcBef>
                <a:spcPts val="300"/>
              </a:spcBef>
              <a:buFont typeface="System Font Regular"/>
              <a:buChar char="​"/>
              <a:tabLst/>
              <a:defRPr sz="5500" b="0" i="0" kern="1200" spc="-150" baseline="0">
                <a:solidFill>
                  <a:srgbClr val="8E71F4"/>
                </a:solidFill>
                <a:latin typeface="ES Build Neutral" pitchFamily="2" charset="77"/>
                <a:ea typeface="ES Build Neutral" pitchFamily="2" charset="77"/>
                <a:cs typeface="+mn-cs"/>
              </a:defRPr>
            </a:lvl8pPr>
            <a:lvl9pPr marL="11113" indent="0" algn="l" defTabSz="914400" rtl="0" eaLnBrk="1" latinLnBrk="0" hangingPunct="1">
              <a:lnSpc>
                <a:spcPct val="84000"/>
              </a:lnSpc>
              <a:spcBef>
                <a:spcPts val="0"/>
              </a:spcBef>
              <a:buFont typeface="System Font Regular"/>
              <a:buChar char="​"/>
              <a:tabLst/>
              <a:defRPr sz="11000" b="0" i="0" kern="1200" spc="-300">
                <a:solidFill>
                  <a:srgbClr val="8E71F4"/>
                </a:solidFill>
                <a:latin typeface="ES Build Neutral" pitchFamily="2" charset="77"/>
                <a:ea typeface="ES Build Neutral" pitchFamily="2" charset="77"/>
                <a:cs typeface="+mn-cs"/>
              </a:defRPr>
            </a:lvl9pPr>
          </a:lstStyle>
          <a:p>
            <a:r>
              <a:rPr lang="en-US">
                <a:latin typeface="+mj-lt"/>
              </a:rPr>
              <a:t>David Domask</a:t>
            </a:r>
          </a:p>
          <a:p>
            <a:pPr lvl="1"/>
            <a:r>
              <a:rPr lang="en-US"/>
              <a:t>Principal Analyst, Product Management</a:t>
            </a:r>
          </a:p>
        </p:txBody>
      </p:sp>
      <p:sp>
        <p:nvSpPr>
          <p:cNvPr id="4" name="Text Placeholder 6">
            <a:extLst>
              <a:ext uri="{FF2B5EF4-FFF2-40B4-BE49-F238E27FC236}">
                <a16:creationId xmlns:a16="http://schemas.microsoft.com/office/drawing/2014/main" id="{7818F2D0-BEF3-B7F9-A06D-D4AF8272B9E0}"/>
              </a:ext>
            </a:extLst>
          </p:cNvPr>
          <p:cNvSpPr txBox="1">
            <a:spLocks/>
          </p:cNvSpPr>
          <p:nvPr/>
        </p:nvSpPr>
        <p:spPr>
          <a:xfrm>
            <a:off x="884967" y="5012908"/>
            <a:ext cx="3767137" cy="682625"/>
          </a:xfrm>
          <a:prstGeom prst="rect">
            <a:avLst/>
          </a:prstGeom>
        </p:spPr>
        <p:txBody>
          <a:bodyPr vert="horz" lIns="0" tIns="0" rIns="0" bIns="0" rtlCol="0">
            <a:noAutofit/>
          </a:bodyPr>
          <a:lstStyle>
            <a:lvl1pPr marL="0" indent="0" algn="l" defTabSz="914400" rtl="0" eaLnBrk="1" latinLnBrk="0" hangingPunct="1">
              <a:lnSpc>
                <a:spcPct val="80000"/>
              </a:lnSpc>
              <a:spcBef>
                <a:spcPts val="1200"/>
              </a:spcBef>
              <a:spcAft>
                <a:spcPts val="600"/>
              </a:spcAft>
              <a:buClrTx/>
              <a:buFont typeface="Calibri" panose="020F0502020204030204" pitchFamily="34" charset="0"/>
              <a:buNone/>
              <a:tabLst/>
              <a:defRPr sz="2400" b="0" i="0" kern="1200">
                <a:solidFill>
                  <a:schemeClr val="accent1"/>
                </a:solidFill>
                <a:latin typeface="ES Build "/>
                <a:ea typeface="ES Build Neutral" pitchFamily="2" charset="77"/>
                <a:cs typeface="+mn-cs"/>
              </a:defRPr>
            </a:lvl1pPr>
            <a:lvl2pPr marL="0" indent="0" algn="l" defTabSz="914400" rtl="0" eaLnBrk="1" latinLnBrk="0" hangingPunct="1">
              <a:lnSpc>
                <a:spcPct val="80000"/>
              </a:lnSpc>
              <a:spcBef>
                <a:spcPts val="300"/>
              </a:spcBef>
              <a:spcAft>
                <a:spcPts val="150"/>
              </a:spcAft>
              <a:buClrTx/>
              <a:buFont typeface="Arial" panose="020B0604020202020204" pitchFamily="34" charset="0"/>
              <a:buNone/>
              <a:tabLst/>
              <a:defRPr sz="1600" b="0" i="0" kern="1200">
                <a:solidFill>
                  <a:schemeClr val="accent1"/>
                </a:solidFill>
                <a:latin typeface="ES Build Neutral" pitchFamily="2" charset="77"/>
                <a:ea typeface="ES Build Neutral" pitchFamily="2" charset="77"/>
                <a:cs typeface="+mn-cs"/>
              </a:defRPr>
            </a:lvl2pPr>
            <a:lvl3pPr marL="342900" indent="-171450" algn="l" defTabSz="914400" rtl="0" eaLnBrk="1" latinLnBrk="0" hangingPunct="1">
              <a:lnSpc>
                <a:spcPct val="96000"/>
              </a:lnSpc>
              <a:spcBef>
                <a:spcPts val="300"/>
              </a:spcBef>
              <a:spcAft>
                <a:spcPts val="150"/>
              </a:spcAft>
              <a:buClrTx/>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3pPr>
            <a:lvl4pPr marL="576072" indent="-173736" algn="l" defTabSz="914400" rtl="0" eaLnBrk="1" latinLnBrk="0" hangingPunct="1">
              <a:lnSpc>
                <a:spcPct val="96000"/>
              </a:lnSpc>
              <a:spcBef>
                <a:spcPts val="300"/>
              </a:spcBef>
              <a:spcAft>
                <a:spcPts val="150"/>
              </a:spcAft>
              <a:buClrTx/>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4pPr>
            <a:lvl5pPr marL="731520" indent="-173736" algn="l" defTabSz="914400" rtl="0" eaLnBrk="1" latinLnBrk="0" hangingPunct="1">
              <a:lnSpc>
                <a:spcPct val="96000"/>
              </a:lnSpc>
              <a:spcBef>
                <a:spcPts val="300"/>
              </a:spcBef>
              <a:spcAft>
                <a:spcPts val="150"/>
              </a:spcAft>
              <a:buFont typeface="Arial" panose="020B0604020202020204" pitchFamily="34" charset="0"/>
              <a:buChar char="•"/>
              <a:tabLst/>
              <a:defRPr sz="1400" b="0" i="0" kern="1200">
                <a:solidFill>
                  <a:schemeClr val="tx1"/>
                </a:solidFill>
                <a:latin typeface="ES Build Neutral" pitchFamily="2" charset="77"/>
                <a:ea typeface="ES Build Neutral" pitchFamily="2" charset="77"/>
                <a:cs typeface="+mn-cs"/>
              </a:defRPr>
            </a:lvl5pPr>
            <a:lvl6pPr marL="11113" indent="0" algn="l" defTabSz="914400" rtl="0" eaLnBrk="1" latinLnBrk="0" hangingPunct="1">
              <a:lnSpc>
                <a:spcPct val="96000"/>
              </a:lnSpc>
              <a:spcBef>
                <a:spcPts val="600"/>
              </a:spcBef>
              <a:spcAft>
                <a:spcPts val="300"/>
              </a:spcAft>
              <a:buFont typeface="System Font Regular"/>
              <a:buChar char="​"/>
              <a:tabLst/>
              <a:defRPr sz="1600" b="0" i="0" kern="1200">
                <a:solidFill>
                  <a:schemeClr val="tx1"/>
                </a:solidFill>
                <a:latin typeface="ES Build Neutral" pitchFamily="2" charset="77"/>
                <a:ea typeface="ES Build Neutral" pitchFamily="2" charset="77"/>
                <a:cs typeface="+mn-cs"/>
              </a:defRPr>
            </a:lvl6pPr>
            <a:lvl7pPr marL="11113" indent="0" algn="l" defTabSz="914400" rtl="0" eaLnBrk="1" latinLnBrk="0" hangingPunct="1">
              <a:lnSpc>
                <a:spcPct val="96000"/>
              </a:lnSpc>
              <a:spcBef>
                <a:spcPts val="600"/>
              </a:spcBef>
              <a:spcAft>
                <a:spcPts val="300"/>
              </a:spcAft>
              <a:buFont typeface="System Font Regular"/>
              <a:buChar char="​"/>
              <a:tabLst/>
              <a:defRPr sz="1600" b="0" i="0" kern="1200">
                <a:solidFill>
                  <a:schemeClr val="tx1"/>
                </a:solidFill>
                <a:latin typeface="ES Build Neutral" pitchFamily="2" charset="77"/>
                <a:ea typeface="ES Build Neutral" pitchFamily="2" charset="77"/>
                <a:cs typeface="+mn-cs"/>
              </a:defRPr>
            </a:lvl7pPr>
            <a:lvl8pPr marL="0" indent="0" algn="l" defTabSz="914400" rtl="0" eaLnBrk="1" latinLnBrk="0" hangingPunct="1">
              <a:lnSpc>
                <a:spcPct val="84000"/>
              </a:lnSpc>
              <a:spcBef>
                <a:spcPts val="300"/>
              </a:spcBef>
              <a:buFont typeface="System Font Regular"/>
              <a:buChar char="​"/>
              <a:tabLst/>
              <a:defRPr sz="5500" b="0" i="0" kern="1200" spc="-150" baseline="0">
                <a:solidFill>
                  <a:srgbClr val="8E71F4"/>
                </a:solidFill>
                <a:latin typeface="ES Build Neutral" pitchFamily="2" charset="77"/>
                <a:ea typeface="ES Build Neutral" pitchFamily="2" charset="77"/>
                <a:cs typeface="+mn-cs"/>
              </a:defRPr>
            </a:lvl8pPr>
            <a:lvl9pPr marL="11113" indent="0" algn="l" defTabSz="914400" rtl="0" eaLnBrk="1" latinLnBrk="0" hangingPunct="1">
              <a:lnSpc>
                <a:spcPct val="84000"/>
              </a:lnSpc>
              <a:spcBef>
                <a:spcPts val="0"/>
              </a:spcBef>
              <a:buFont typeface="System Font Regular"/>
              <a:buChar char="​"/>
              <a:tabLst/>
              <a:defRPr sz="11000" b="0" i="0" kern="1200" spc="-300">
                <a:solidFill>
                  <a:srgbClr val="8E71F4"/>
                </a:solidFill>
                <a:latin typeface="ES Build Neutral" pitchFamily="2" charset="77"/>
                <a:ea typeface="ES Build Neutral" pitchFamily="2" charset="77"/>
                <a:cs typeface="+mn-cs"/>
              </a:defRPr>
            </a:lvl9pPr>
          </a:lstStyle>
          <a:p>
            <a:r>
              <a:rPr lang="en-US">
                <a:latin typeface="+mj-lt"/>
              </a:rPr>
              <a:t>Chris Arceneaux</a:t>
            </a:r>
          </a:p>
          <a:p>
            <a:pPr lvl="1"/>
            <a:r>
              <a:rPr lang="en-US"/>
              <a:t>Senior Solutions Architect</a:t>
            </a:r>
          </a:p>
        </p:txBody>
      </p:sp>
    </p:spTree>
    <p:extLst>
      <p:ext uri="{BB962C8B-B14F-4D97-AF65-F5344CB8AC3E}">
        <p14:creationId xmlns:p14="http://schemas.microsoft.com/office/powerpoint/2010/main" val="34264302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B7FB16-CD11-AC59-0DFA-4CA38E6EACAE}"/>
            </a:ext>
          </a:extLst>
        </p:cNvPr>
        <p:cNvGrpSpPr/>
        <p:nvPr/>
      </p:nvGrpSpPr>
      <p:grpSpPr>
        <a:xfrm>
          <a:off x="0" y="0"/>
          <a:ext cx="0" cy="0"/>
          <a:chOff x="0" y="0"/>
          <a:chExt cx="0" cy="0"/>
        </a:xfrm>
      </p:grpSpPr>
      <p:sp>
        <p:nvSpPr>
          <p:cNvPr id="8" name="Content Placeholder 7">
            <a:extLst>
              <a:ext uri="{FF2B5EF4-FFF2-40B4-BE49-F238E27FC236}">
                <a16:creationId xmlns:a16="http://schemas.microsoft.com/office/drawing/2014/main" id="{10E1B72C-B6B7-1B11-2460-12AD18CF9E99}"/>
              </a:ext>
            </a:extLst>
          </p:cNvPr>
          <p:cNvSpPr>
            <a:spLocks noGrp="1"/>
          </p:cNvSpPr>
          <p:nvPr>
            <p:ph sz="quarter" idx="10"/>
          </p:nvPr>
        </p:nvSpPr>
        <p:spPr>
          <a:xfrm>
            <a:off x="4305300" y="682625"/>
            <a:ext cx="7391400" cy="5093142"/>
          </a:xfrm>
        </p:spPr>
        <p:txBody>
          <a:bodyPr/>
          <a:lstStyle/>
          <a:p>
            <a:r>
              <a:rPr lang="en-US"/>
              <a:t>Knowing an alias can optimize your PowerShell experience.</a:t>
            </a:r>
          </a:p>
          <a:p>
            <a:r>
              <a:rPr lang="en-US" b="1"/>
              <a:t>Pro tip: </a:t>
            </a:r>
            <a:r>
              <a:rPr lang="en-US" i="1"/>
              <a:t>You can create your own aliases!</a:t>
            </a:r>
          </a:p>
          <a:p>
            <a:endParaRPr lang="en-US"/>
          </a:p>
          <a:p>
            <a:endParaRPr lang="en-US"/>
          </a:p>
          <a:p>
            <a:endParaRPr lang="en-US"/>
          </a:p>
          <a:p>
            <a:endParaRPr lang="en-US"/>
          </a:p>
          <a:p>
            <a:endParaRPr lang="en-US"/>
          </a:p>
          <a:p>
            <a:endParaRPr lang="en-US"/>
          </a:p>
          <a:p>
            <a:r>
              <a:rPr lang="en-US"/>
              <a:t>Many more are available!</a:t>
            </a:r>
          </a:p>
        </p:txBody>
      </p:sp>
      <p:sp>
        <p:nvSpPr>
          <p:cNvPr id="2" name="Footer Placeholder 1">
            <a:extLst>
              <a:ext uri="{FF2B5EF4-FFF2-40B4-BE49-F238E27FC236}">
                <a16:creationId xmlns:a16="http://schemas.microsoft.com/office/drawing/2014/main" id="{0AC29F43-93A6-2804-7D26-032BC5B1A5F9}"/>
              </a:ext>
            </a:extLst>
          </p:cNvPr>
          <p:cNvSpPr>
            <a:spLocks noGrp="1"/>
          </p:cNvSpPr>
          <p:nvPr>
            <p:ph type="ftr" sz="quarter" idx="3"/>
          </p:nvPr>
        </p:nvSpPr>
        <p:spPr/>
        <p:txBody>
          <a:bodyPr/>
          <a:lstStyle/>
          <a:p>
            <a:endParaRPr lang="en-US"/>
          </a:p>
        </p:txBody>
      </p:sp>
      <p:sp>
        <p:nvSpPr>
          <p:cNvPr id="3" name="Title 2">
            <a:extLst>
              <a:ext uri="{FF2B5EF4-FFF2-40B4-BE49-F238E27FC236}">
                <a16:creationId xmlns:a16="http://schemas.microsoft.com/office/drawing/2014/main" id="{7A5D4882-73B9-349C-B210-A18044FF731B}"/>
              </a:ext>
            </a:extLst>
          </p:cNvPr>
          <p:cNvSpPr>
            <a:spLocks noGrp="1"/>
          </p:cNvSpPr>
          <p:nvPr>
            <p:ph type="title"/>
          </p:nvPr>
        </p:nvSpPr>
        <p:spPr/>
        <p:txBody>
          <a:bodyPr/>
          <a:lstStyle/>
          <a:p>
            <a:r>
              <a:rPr lang="en-US"/>
              <a:t>Get-Alias</a:t>
            </a:r>
            <a:endParaRPr lang="ru-RU"/>
          </a:p>
        </p:txBody>
      </p:sp>
      <p:sp>
        <p:nvSpPr>
          <p:cNvPr id="4" name="Subtitle 3">
            <a:extLst>
              <a:ext uri="{FF2B5EF4-FFF2-40B4-BE49-F238E27FC236}">
                <a16:creationId xmlns:a16="http://schemas.microsoft.com/office/drawing/2014/main" id="{BFC6A273-E92E-A738-6BC6-3ED426FB308C}"/>
              </a:ext>
            </a:extLst>
          </p:cNvPr>
          <p:cNvSpPr>
            <a:spLocks noGrp="1"/>
          </p:cNvSpPr>
          <p:nvPr>
            <p:ph type="subTitle" idx="1"/>
          </p:nvPr>
        </p:nvSpPr>
        <p:spPr/>
        <p:txBody>
          <a:bodyPr/>
          <a:lstStyle/>
          <a:p>
            <a:endParaRPr lang="ru-RU"/>
          </a:p>
        </p:txBody>
      </p:sp>
      <p:pic>
        <p:nvPicPr>
          <p:cNvPr id="6" name="Picture 5" descr="A screen shot of a computer&#10;&#10;Description automatically generated">
            <a:extLst>
              <a:ext uri="{FF2B5EF4-FFF2-40B4-BE49-F238E27FC236}">
                <a16:creationId xmlns:a16="http://schemas.microsoft.com/office/drawing/2014/main" id="{D9DEC0D1-EC4D-D738-9097-DA83DE511D27}"/>
              </a:ext>
            </a:extLst>
          </p:cNvPr>
          <p:cNvPicPr>
            <a:picLocks noChangeAspect="1"/>
          </p:cNvPicPr>
          <p:nvPr/>
        </p:nvPicPr>
        <p:blipFill>
          <a:blip r:embed="rId3"/>
          <a:stretch>
            <a:fillRect/>
          </a:stretch>
        </p:blipFill>
        <p:spPr>
          <a:xfrm>
            <a:off x="4305300" y="1611542"/>
            <a:ext cx="6362700" cy="1676400"/>
          </a:xfrm>
          <a:prstGeom prst="rect">
            <a:avLst/>
          </a:prstGeom>
        </p:spPr>
      </p:pic>
      <p:pic>
        <p:nvPicPr>
          <p:cNvPr id="11" name="Picture 10">
            <a:extLst>
              <a:ext uri="{FF2B5EF4-FFF2-40B4-BE49-F238E27FC236}">
                <a16:creationId xmlns:a16="http://schemas.microsoft.com/office/drawing/2014/main" id="{ACFFFBEB-1FA0-455B-A065-E92925FE1E26}"/>
              </a:ext>
            </a:extLst>
          </p:cNvPr>
          <p:cNvPicPr>
            <a:picLocks noChangeAspect="1"/>
          </p:cNvPicPr>
          <p:nvPr/>
        </p:nvPicPr>
        <p:blipFill>
          <a:blip r:embed="rId4"/>
          <a:srcRect t="1" r="23336" b="1413"/>
          <a:stretch/>
        </p:blipFill>
        <p:spPr>
          <a:xfrm>
            <a:off x="4305300" y="4007812"/>
            <a:ext cx="6362700" cy="325784"/>
          </a:xfrm>
          <a:prstGeom prst="rect">
            <a:avLst/>
          </a:prstGeom>
        </p:spPr>
      </p:pic>
      <p:pic>
        <p:nvPicPr>
          <p:cNvPr id="13" name="Picture 12">
            <a:extLst>
              <a:ext uri="{FF2B5EF4-FFF2-40B4-BE49-F238E27FC236}">
                <a16:creationId xmlns:a16="http://schemas.microsoft.com/office/drawing/2014/main" id="{7D07F31C-69CE-CFF9-D41F-E7F37953C51A}"/>
              </a:ext>
            </a:extLst>
          </p:cNvPr>
          <p:cNvPicPr>
            <a:picLocks noChangeAspect="1"/>
          </p:cNvPicPr>
          <p:nvPr/>
        </p:nvPicPr>
        <p:blipFill>
          <a:blip r:embed="rId5"/>
          <a:srcRect t="-1" r="32472" b="-48785"/>
          <a:stretch/>
        </p:blipFill>
        <p:spPr>
          <a:xfrm>
            <a:off x="4305300" y="3483166"/>
            <a:ext cx="6362700" cy="455896"/>
          </a:xfrm>
          <a:prstGeom prst="rect">
            <a:avLst/>
          </a:prstGeom>
        </p:spPr>
      </p:pic>
    </p:spTree>
    <p:extLst>
      <p:ext uri="{BB962C8B-B14F-4D97-AF65-F5344CB8AC3E}">
        <p14:creationId xmlns:p14="http://schemas.microsoft.com/office/powerpoint/2010/main" val="33764526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0C9248E-5FA2-E9E9-FD35-2D3B6E280CB3}"/>
              </a:ext>
            </a:extLst>
          </p:cNvPr>
          <p:cNvSpPr>
            <a:spLocks noGrp="1"/>
          </p:cNvSpPr>
          <p:nvPr>
            <p:ph type="title"/>
          </p:nvPr>
        </p:nvSpPr>
        <p:spPr>
          <a:xfrm>
            <a:off x="1053296" y="1447799"/>
            <a:ext cx="6452404" cy="3167743"/>
          </a:xfrm>
        </p:spPr>
        <p:txBody>
          <a:bodyPr/>
          <a:lstStyle/>
          <a:p>
            <a:r>
              <a:rPr lang="en-GB"/>
              <a:t>Script design tips</a:t>
            </a:r>
          </a:p>
        </p:txBody>
      </p:sp>
    </p:spTree>
    <p:extLst>
      <p:ext uri="{BB962C8B-B14F-4D97-AF65-F5344CB8AC3E}">
        <p14:creationId xmlns:p14="http://schemas.microsoft.com/office/powerpoint/2010/main" val="1593978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E2D3349-2F76-6926-FF11-B8866570DB98}"/>
            </a:ext>
          </a:extLst>
        </p:cNvPr>
        <p:cNvGrpSpPr/>
        <p:nvPr/>
      </p:nvGrpSpPr>
      <p:grpSpPr>
        <a:xfrm>
          <a:off x="0" y="0"/>
          <a:ext cx="0" cy="0"/>
          <a:chOff x="0" y="0"/>
          <a:chExt cx="0" cy="0"/>
        </a:xfrm>
      </p:grpSpPr>
      <p:sp>
        <p:nvSpPr>
          <p:cNvPr id="8" name="Content Placeholder 7">
            <a:extLst>
              <a:ext uri="{FF2B5EF4-FFF2-40B4-BE49-F238E27FC236}">
                <a16:creationId xmlns:a16="http://schemas.microsoft.com/office/drawing/2014/main" id="{2C7B529A-32B7-281D-E0A2-D17F4DC0F5F6}"/>
              </a:ext>
            </a:extLst>
          </p:cNvPr>
          <p:cNvSpPr>
            <a:spLocks noGrp="1"/>
          </p:cNvSpPr>
          <p:nvPr>
            <p:ph sz="quarter" idx="10"/>
          </p:nvPr>
        </p:nvSpPr>
        <p:spPr/>
        <p:txBody>
          <a:bodyPr/>
          <a:lstStyle/>
          <a:p>
            <a:pPr marL="342900" indent="-342900">
              <a:buFont typeface="Arial" panose="020B0604020202020204" pitchFamily="34" charset="0"/>
              <a:buChar char="•"/>
            </a:pPr>
            <a:r>
              <a:rPr lang="en-US"/>
              <a:t>Why focus on design before writing code?</a:t>
            </a:r>
          </a:p>
          <a:p>
            <a:pPr marL="342900" indent="-342900">
              <a:buFont typeface="Arial" panose="020B0604020202020204" pitchFamily="34" charset="0"/>
              <a:buChar char="•"/>
            </a:pPr>
            <a:r>
              <a:rPr lang="en-US"/>
              <a:t>Design focuses on business logic, code is then written according to design</a:t>
            </a:r>
          </a:p>
          <a:p>
            <a:pPr marL="342900" indent="-342900">
              <a:buFont typeface="Arial" panose="020B0604020202020204" pitchFamily="34" charset="0"/>
              <a:buChar char="•"/>
            </a:pPr>
            <a:r>
              <a:rPr lang="en-US"/>
              <a:t>Initial design can be written into script help section</a:t>
            </a:r>
          </a:p>
          <a:p>
            <a:pPr marL="516636" lvl="1" indent="-342900"/>
            <a:r>
              <a:rPr lang="en-US"/>
              <a:t>Description</a:t>
            </a:r>
          </a:p>
          <a:p>
            <a:pPr marL="516636" lvl="1" indent="-342900"/>
            <a:r>
              <a:rPr lang="en-US"/>
              <a:t>Parameters</a:t>
            </a:r>
          </a:p>
          <a:p>
            <a:pPr marL="516636" lvl="1" indent="-342900"/>
            <a:r>
              <a:rPr lang="en-US"/>
              <a:t>Output</a:t>
            </a:r>
          </a:p>
          <a:p>
            <a:pPr marL="342900" indent="-342900">
              <a:buFont typeface="Arial" panose="020B0604020202020204" pitchFamily="34" charset="0"/>
              <a:buChar char="•"/>
            </a:pPr>
            <a:r>
              <a:rPr lang="en-US"/>
              <a:t>Parameter tips &amp; best practice</a:t>
            </a:r>
          </a:p>
          <a:p>
            <a:pPr marL="342900" indent="-342900">
              <a:buFont typeface="Arial" panose="020B0604020202020204" pitchFamily="34" charset="0"/>
              <a:buChar char="•"/>
            </a:pPr>
            <a:r>
              <a:rPr lang="en-US"/>
              <a:t>Functions</a:t>
            </a:r>
          </a:p>
          <a:p>
            <a:pPr marL="342900" indent="-342900">
              <a:buFont typeface="Arial" panose="020B0604020202020204" pitchFamily="34" charset="0"/>
              <a:buChar char="•"/>
            </a:pPr>
            <a:r>
              <a:rPr lang="en-US"/>
              <a:t>Error handling</a:t>
            </a:r>
          </a:p>
          <a:p>
            <a:pPr marL="342900" indent="-342900">
              <a:buFont typeface="Arial" panose="020B0604020202020204" pitchFamily="34" charset="0"/>
              <a:buChar char="•"/>
            </a:pPr>
            <a:r>
              <a:rPr lang="en-US"/>
              <a:t>Logging</a:t>
            </a:r>
          </a:p>
          <a:p>
            <a:pPr marL="516636" lvl="1" indent="-342900"/>
            <a:r>
              <a:rPr lang="en-US"/>
              <a:t>Standard logging</a:t>
            </a:r>
          </a:p>
          <a:p>
            <a:pPr marL="516636" lvl="1" indent="-342900"/>
            <a:r>
              <a:rPr lang="en-US"/>
              <a:t>Verbose logging – helps greatly when debugging</a:t>
            </a:r>
          </a:p>
        </p:txBody>
      </p:sp>
      <p:sp>
        <p:nvSpPr>
          <p:cNvPr id="2" name="Footer Placeholder 1">
            <a:extLst>
              <a:ext uri="{FF2B5EF4-FFF2-40B4-BE49-F238E27FC236}">
                <a16:creationId xmlns:a16="http://schemas.microsoft.com/office/drawing/2014/main" id="{5845278B-75B5-CBE1-B4E1-9AE8C65B1E2E}"/>
              </a:ext>
            </a:extLst>
          </p:cNvPr>
          <p:cNvSpPr>
            <a:spLocks noGrp="1"/>
          </p:cNvSpPr>
          <p:nvPr>
            <p:ph type="ftr" sz="quarter" idx="3"/>
          </p:nvPr>
        </p:nvSpPr>
        <p:spPr/>
        <p:txBody>
          <a:bodyPr/>
          <a:lstStyle/>
          <a:p>
            <a:endParaRPr lang="en-US"/>
          </a:p>
        </p:txBody>
      </p:sp>
      <p:sp>
        <p:nvSpPr>
          <p:cNvPr id="3" name="Title 2">
            <a:extLst>
              <a:ext uri="{FF2B5EF4-FFF2-40B4-BE49-F238E27FC236}">
                <a16:creationId xmlns:a16="http://schemas.microsoft.com/office/drawing/2014/main" id="{6C4E0814-45D0-80D1-2647-D4F9AD9B64D0}"/>
              </a:ext>
            </a:extLst>
          </p:cNvPr>
          <p:cNvSpPr>
            <a:spLocks noGrp="1"/>
          </p:cNvSpPr>
          <p:nvPr>
            <p:ph type="title"/>
          </p:nvPr>
        </p:nvSpPr>
        <p:spPr/>
        <p:txBody>
          <a:bodyPr/>
          <a:lstStyle/>
          <a:p>
            <a:r>
              <a:rPr lang="en-US"/>
              <a:t>Idea…</a:t>
            </a:r>
            <a:endParaRPr lang="ru-RU"/>
          </a:p>
        </p:txBody>
      </p:sp>
      <p:sp>
        <p:nvSpPr>
          <p:cNvPr id="4" name="Subtitle 3">
            <a:extLst>
              <a:ext uri="{FF2B5EF4-FFF2-40B4-BE49-F238E27FC236}">
                <a16:creationId xmlns:a16="http://schemas.microsoft.com/office/drawing/2014/main" id="{4ACADA09-1EDF-1902-08E8-1F45B66A8546}"/>
              </a:ext>
            </a:extLst>
          </p:cNvPr>
          <p:cNvSpPr>
            <a:spLocks noGrp="1"/>
          </p:cNvSpPr>
          <p:nvPr>
            <p:ph type="subTitle" idx="1"/>
          </p:nvPr>
        </p:nvSpPr>
        <p:spPr/>
        <p:txBody>
          <a:bodyPr/>
          <a:lstStyle/>
          <a:p>
            <a:endParaRPr lang="ru-RU"/>
          </a:p>
        </p:txBody>
      </p:sp>
    </p:spTree>
    <p:extLst>
      <p:ext uri="{BB962C8B-B14F-4D97-AF65-F5344CB8AC3E}">
        <p14:creationId xmlns:p14="http://schemas.microsoft.com/office/powerpoint/2010/main" val="1620046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BC2CCB1-EA17-7995-47CD-3D0EF7414258}"/>
              </a:ext>
            </a:extLst>
          </p:cNvPr>
          <p:cNvSpPr>
            <a:spLocks noGrp="1"/>
          </p:cNvSpPr>
          <p:nvPr>
            <p:ph type="title"/>
          </p:nvPr>
        </p:nvSpPr>
        <p:spPr/>
        <p:txBody>
          <a:bodyPr/>
          <a:lstStyle/>
          <a:p>
            <a:r>
              <a:rPr lang="en-US"/>
              <a:t>Why?</a:t>
            </a:r>
            <a:endParaRPr lang="ru-RU"/>
          </a:p>
        </p:txBody>
      </p:sp>
      <p:sp>
        <p:nvSpPr>
          <p:cNvPr id="10" name="Subtitle 9">
            <a:extLst>
              <a:ext uri="{FF2B5EF4-FFF2-40B4-BE49-F238E27FC236}">
                <a16:creationId xmlns:a16="http://schemas.microsoft.com/office/drawing/2014/main" id="{764A7158-E181-6270-AFFE-A96EF78F3A11}"/>
              </a:ext>
            </a:extLst>
          </p:cNvPr>
          <p:cNvSpPr>
            <a:spLocks noGrp="1"/>
          </p:cNvSpPr>
          <p:nvPr>
            <p:ph type="subTitle" idx="1"/>
          </p:nvPr>
        </p:nvSpPr>
        <p:spPr/>
        <p:txBody>
          <a:bodyPr/>
          <a:lstStyle/>
          <a:p>
            <a:endParaRPr lang="ru-RU"/>
          </a:p>
        </p:txBody>
      </p:sp>
      <p:sp>
        <p:nvSpPr>
          <p:cNvPr id="11" name="Content Placeholder 10">
            <a:extLst>
              <a:ext uri="{FF2B5EF4-FFF2-40B4-BE49-F238E27FC236}">
                <a16:creationId xmlns:a16="http://schemas.microsoft.com/office/drawing/2014/main" id="{03E9BD1E-9A53-0BB1-9753-B5340B7F0066}"/>
              </a:ext>
            </a:extLst>
          </p:cNvPr>
          <p:cNvSpPr>
            <a:spLocks noGrp="1"/>
          </p:cNvSpPr>
          <p:nvPr>
            <p:ph sz="quarter" idx="10"/>
          </p:nvPr>
        </p:nvSpPr>
        <p:spPr/>
        <p:txBody>
          <a:bodyPr/>
          <a:lstStyle/>
          <a:p>
            <a:pPr marL="342900" indent="-342900"/>
            <a:r>
              <a:rPr lang="en-US"/>
              <a:t>- Limited User Knowledge in </a:t>
            </a:r>
            <a:r>
              <a:rPr lang="en-US" err="1"/>
              <a:t>Powershell</a:t>
            </a:r>
            <a:endParaRPr lang="en-US"/>
          </a:p>
          <a:p>
            <a:pPr marL="342900" indent="-342900"/>
            <a:r>
              <a:rPr lang="en-US"/>
              <a:t>- Security Hardening in </a:t>
            </a:r>
            <a:r>
              <a:rPr lang="en-US" err="1"/>
              <a:t>Powershell</a:t>
            </a:r>
            <a:r>
              <a:rPr lang="en-US"/>
              <a:t> introduces confusing errors</a:t>
            </a:r>
          </a:p>
          <a:p>
            <a:pPr marL="342900" indent="-342900"/>
            <a:r>
              <a:rPr lang="en-US"/>
              <a:t>- Troubleshooting scripts is time-consuming</a:t>
            </a:r>
          </a:p>
        </p:txBody>
      </p:sp>
      <p:pic>
        <p:nvPicPr>
          <p:cNvPr id="14" name="Content Placeholder 13" descr="A screenshot of two powershell sessions, one non-Administrative, one Administrative, both running the same commandlet Get M P Preference | Select Expand Property Exclusion Path&#10;&#10;The first non-administrative powershell session tells &quot;You must be an Administrator to view exclusions&quot;&#10;The second Administrative powershell session tells &quot;Administrators are not allowed to view exclusions&quot;">
            <a:extLst>
              <a:ext uri="{FF2B5EF4-FFF2-40B4-BE49-F238E27FC236}">
                <a16:creationId xmlns:a16="http://schemas.microsoft.com/office/drawing/2014/main" id="{3D22C411-5190-D50B-3DE6-0477CF90BD2F}"/>
              </a:ext>
            </a:extLst>
          </p:cNvPr>
          <p:cNvPicPr>
            <a:picLocks noGrp="1" noChangeAspect="1"/>
          </p:cNvPicPr>
          <p:nvPr>
            <p:ph sz="quarter" idx="11"/>
          </p:nvPr>
        </p:nvPicPr>
        <p:blipFill>
          <a:blip r:embed="rId3"/>
          <a:stretch>
            <a:fillRect/>
          </a:stretch>
        </p:blipFill>
        <p:spPr>
          <a:xfrm>
            <a:off x="3886947" y="2579856"/>
            <a:ext cx="8103063" cy="3241225"/>
          </a:xfrm>
        </p:spPr>
      </p:pic>
      <p:cxnSp>
        <p:nvCxnSpPr>
          <p:cNvPr id="18" name="Straight Arrow Connector 17">
            <a:extLst>
              <a:ext uri="{FF2B5EF4-FFF2-40B4-BE49-F238E27FC236}">
                <a16:creationId xmlns:a16="http://schemas.microsoft.com/office/drawing/2014/main" id="{2EE5CB62-4F25-0D3F-A01A-3396F639C8C2}"/>
              </a:ext>
            </a:extLst>
          </p:cNvPr>
          <p:cNvCxnSpPr>
            <a:cxnSpLocks/>
          </p:cNvCxnSpPr>
          <p:nvPr/>
        </p:nvCxnSpPr>
        <p:spPr>
          <a:xfrm flipH="1">
            <a:off x="7581331" y="5179325"/>
            <a:ext cx="3637128" cy="0"/>
          </a:xfrm>
          <a:prstGeom prst="straightConnector1">
            <a:avLst/>
          </a:prstGeom>
          <a:ln w="76200" cap="rnd">
            <a:solidFill>
              <a:srgbClr val="FF0000"/>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3836CA5C-9F9A-0A66-5895-0B4CF129A8D8}"/>
              </a:ext>
            </a:extLst>
          </p:cNvPr>
          <p:cNvCxnSpPr>
            <a:cxnSpLocks/>
          </p:cNvCxnSpPr>
          <p:nvPr/>
        </p:nvCxnSpPr>
        <p:spPr>
          <a:xfrm flipH="1">
            <a:off x="7863385" y="3721289"/>
            <a:ext cx="3637128" cy="0"/>
          </a:xfrm>
          <a:prstGeom prst="straightConnector1">
            <a:avLst/>
          </a:prstGeom>
          <a:ln w="76200" cap="rnd">
            <a:solidFill>
              <a:srgbClr val="FF0000"/>
            </a:solidFill>
            <a:round/>
            <a:headEnd type="none" w="med" len="sm"/>
            <a:tailEnd type="triangl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B034488-591B-21B9-FAE0-331D0299A471}"/>
              </a:ext>
            </a:extLst>
          </p:cNvPr>
          <p:cNvCxnSpPr>
            <a:cxnSpLocks/>
          </p:cNvCxnSpPr>
          <p:nvPr/>
        </p:nvCxnSpPr>
        <p:spPr>
          <a:xfrm>
            <a:off x="3886947" y="3832520"/>
            <a:ext cx="3976438" cy="0"/>
          </a:xfrm>
          <a:prstGeom prst="line">
            <a:avLst/>
          </a:prstGeom>
          <a:ln w="66675" cap="rnd">
            <a:solidFill>
              <a:srgbClr val="FF0000"/>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BAE939C-3732-9CF8-A1B0-21B78DD85537}"/>
              </a:ext>
            </a:extLst>
          </p:cNvPr>
          <p:cNvCxnSpPr>
            <a:cxnSpLocks/>
          </p:cNvCxnSpPr>
          <p:nvPr/>
        </p:nvCxnSpPr>
        <p:spPr>
          <a:xfrm>
            <a:off x="3886947" y="5322400"/>
            <a:ext cx="3619322" cy="0"/>
          </a:xfrm>
          <a:prstGeom prst="line">
            <a:avLst/>
          </a:prstGeom>
          <a:ln w="66675" cap="rnd">
            <a:solidFill>
              <a:srgbClr val="FF0000"/>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27123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0C9248E-5FA2-E9E9-FD35-2D3B6E280CB3}"/>
              </a:ext>
            </a:extLst>
          </p:cNvPr>
          <p:cNvSpPr>
            <a:spLocks noGrp="1"/>
          </p:cNvSpPr>
          <p:nvPr>
            <p:ph type="title"/>
          </p:nvPr>
        </p:nvSpPr>
        <p:spPr/>
        <p:txBody>
          <a:bodyPr/>
          <a:lstStyle/>
          <a:p>
            <a:r>
              <a:rPr lang="en-GB"/>
              <a:t>Script Design Tips and Tricks</a:t>
            </a:r>
          </a:p>
        </p:txBody>
      </p:sp>
    </p:spTree>
    <p:extLst>
      <p:ext uri="{BB962C8B-B14F-4D97-AF65-F5344CB8AC3E}">
        <p14:creationId xmlns:p14="http://schemas.microsoft.com/office/powerpoint/2010/main" val="2582228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7DD6C0E-859C-EA2A-6D29-2DC028B22707}"/>
              </a:ext>
            </a:extLst>
          </p:cNvPr>
          <p:cNvSpPr>
            <a:spLocks noGrp="1"/>
          </p:cNvSpPr>
          <p:nvPr>
            <p:ph type="title"/>
          </p:nvPr>
        </p:nvSpPr>
        <p:spPr/>
        <p:txBody>
          <a:bodyPr/>
          <a:lstStyle/>
          <a:p>
            <a:r>
              <a:rPr lang="en-US"/>
              <a:t>Parameters</a:t>
            </a:r>
            <a:endParaRPr lang="ru-RU"/>
          </a:p>
        </p:txBody>
      </p:sp>
      <p:sp>
        <p:nvSpPr>
          <p:cNvPr id="6" name="Subtitle 5">
            <a:extLst>
              <a:ext uri="{FF2B5EF4-FFF2-40B4-BE49-F238E27FC236}">
                <a16:creationId xmlns:a16="http://schemas.microsoft.com/office/drawing/2014/main" id="{AC6985A7-32C0-1A24-5D1C-991E20860AB1}"/>
              </a:ext>
            </a:extLst>
          </p:cNvPr>
          <p:cNvSpPr>
            <a:spLocks noGrp="1"/>
          </p:cNvSpPr>
          <p:nvPr>
            <p:ph type="subTitle" idx="1"/>
          </p:nvPr>
        </p:nvSpPr>
        <p:spPr/>
        <p:txBody>
          <a:bodyPr/>
          <a:lstStyle/>
          <a:p>
            <a:endParaRPr lang="ru-RU"/>
          </a:p>
        </p:txBody>
      </p:sp>
      <p:sp>
        <p:nvSpPr>
          <p:cNvPr id="7" name="Content Placeholder 6">
            <a:extLst>
              <a:ext uri="{FF2B5EF4-FFF2-40B4-BE49-F238E27FC236}">
                <a16:creationId xmlns:a16="http://schemas.microsoft.com/office/drawing/2014/main" id="{6649E00D-A18F-D667-A18A-743DF554B9A9}"/>
              </a:ext>
            </a:extLst>
          </p:cNvPr>
          <p:cNvSpPr>
            <a:spLocks noGrp="1"/>
          </p:cNvSpPr>
          <p:nvPr>
            <p:ph sz="quarter" idx="10"/>
          </p:nvPr>
        </p:nvSpPr>
        <p:spPr>
          <a:xfrm>
            <a:off x="4305300" y="1482165"/>
            <a:ext cx="7391400" cy="4690067"/>
          </a:xfrm>
        </p:spPr>
        <p:txBody>
          <a:bodyPr/>
          <a:lstStyle/>
          <a:p>
            <a:pPr marL="342900" indent="-342900">
              <a:buFont typeface="Wingdings" panose="05000000000000000000" pitchFamily="2" charset="2"/>
              <a:buChar char="§"/>
            </a:pPr>
            <a:r>
              <a:rPr lang="en-US"/>
              <a:t>Instructs what user can change in script processing</a:t>
            </a:r>
          </a:p>
          <a:p>
            <a:pPr marL="342900" indent="-342900">
              <a:buFont typeface="Wingdings" panose="05000000000000000000" pitchFamily="2" charset="2"/>
              <a:buChar char="§"/>
            </a:pPr>
            <a:r>
              <a:rPr lang="en-US"/>
              <a:t>Business logic defines parameters</a:t>
            </a:r>
          </a:p>
          <a:p>
            <a:pPr marL="342900" indent="-342900">
              <a:buFont typeface="Wingdings" panose="05000000000000000000" pitchFamily="2" charset="2"/>
              <a:buChar char="§"/>
            </a:pPr>
            <a:r>
              <a:rPr lang="en-US"/>
              <a:t>Interactive vs unattended scripts</a:t>
            </a:r>
          </a:p>
          <a:p>
            <a:pPr marL="342900" indent="-342900">
              <a:buFont typeface="Wingdings" panose="05000000000000000000" pitchFamily="2" charset="2"/>
              <a:buChar char="§"/>
            </a:pPr>
            <a:r>
              <a:rPr lang="en-US"/>
              <a:t>Avoid String input</a:t>
            </a:r>
          </a:p>
          <a:p>
            <a:pPr marL="342900" indent="-342900">
              <a:buFont typeface="Wingdings" panose="05000000000000000000" pitchFamily="2" charset="2"/>
              <a:buChar char="§"/>
            </a:pPr>
            <a:endParaRPr lang="en-US"/>
          </a:p>
          <a:p>
            <a:pPr marL="342900" indent="-342900">
              <a:buFont typeface="Wingdings" panose="05000000000000000000" pitchFamily="2" charset="2"/>
              <a:buChar char="§"/>
            </a:pPr>
            <a:endParaRPr lang="ru-RU"/>
          </a:p>
        </p:txBody>
      </p:sp>
      <p:sp>
        <p:nvSpPr>
          <p:cNvPr id="9" name="TextBox 8">
            <a:extLst>
              <a:ext uri="{FF2B5EF4-FFF2-40B4-BE49-F238E27FC236}">
                <a16:creationId xmlns:a16="http://schemas.microsoft.com/office/drawing/2014/main" id="{DC668D11-0E71-0914-D062-A6EDA017AA82}"/>
              </a:ext>
            </a:extLst>
          </p:cNvPr>
          <p:cNvSpPr txBox="1"/>
          <p:nvPr/>
        </p:nvSpPr>
        <p:spPr>
          <a:xfrm>
            <a:off x="4613834" y="220960"/>
            <a:ext cx="6956613" cy="738664"/>
          </a:xfrm>
          <a:prstGeom prst="rect">
            <a:avLst/>
          </a:prstGeom>
          <a:noFill/>
        </p:spPr>
        <p:txBody>
          <a:bodyPr wrap="square">
            <a:spAutoFit/>
          </a:bodyPr>
          <a:lstStyle/>
          <a:p>
            <a:r>
              <a:rPr lang="ru-RU" sz="1400">
                <a:hlinkClick r:id="rId3"/>
              </a:rPr>
              <a:t>https://learn.microsoft.com/en-us/powershell/module/microsoft.powershell.core/about/about_functions_advanced_parameters?view=powershell-7.4</a:t>
            </a:r>
            <a:r>
              <a:rPr lang="en-US" sz="1400"/>
              <a:t>  (Search “</a:t>
            </a:r>
            <a:r>
              <a:rPr lang="en-US" sz="1400" b="1" err="1">
                <a:solidFill>
                  <a:srgbClr val="ED2B3D"/>
                </a:solidFill>
              </a:rPr>
              <a:t>Powershell</a:t>
            </a:r>
            <a:r>
              <a:rPr lang="en-US" sz="1400" b="1">
                <a:solidFill>
                  <a:srgbClr val="ED2B3D"/>
                </a:solidFill>
              </a:rPr>
              <a:t> About Advanced Parameters</a:t>
            </a:r>
            <a:r>
              <a:rPr lang="en-US" sz="1400"/>
              <a:t>”)</a:t>
            </a:r>
            <a:endParaRPr lang="ru-RU" sz="1400"/>
          </a:p>
        </p:txBody>
      </p:sp>
      <p:sp>
        <p:nvSpPr>
          <p:cNvPr id="3" name="Title 4">
            <a:extLst>
              <a:ext uri="{FF2B5EF4-FFF2-40B4-BE49-F238E27FC236}">
                <a16:creationId xmlns:a16="http://schemas.microsoft.com/office/drawing/2014/main" id="{E08EE096-82AF-38AB-A044-CA732F7E8763}"/>
              </a:ext>
            </a:extLst>
          </p:cNvPr>
          <p:cNvSpPr txBox="1">
            <a:spLocks/>
          </p:cNvSpPr>
          <p:nvPr/>
        </p:nvSpPr>
        <p:spPr>
          <a:xfrm>
            <a:off x="844134" y="1917693"/>
            <a:ext cx="2168888" cy="526763"/>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b="0" i="0" kern="1200">
                <a:solidFill>
                  <a:schemeClr val="bg1"/>
                </a:solidFill>
                <a:latin typeface="ES Build" pitchFamily="2" charset="77"/>
                <a:ea typeface="ES Build" pitchFamily="2" charset="77"/>
                <a:cs typeface="+mj-cs"/>
              </a:defRPr>
            </a:lvl1pPr>
          </a:lstStyle>
          <a:p>
            <a:r>
              <a:rPr lang="en-US" sz="1600"/>
              <a:t>Script and Presentation</a:t>
            </a:r>
            <a:endParaRPr lang="ru-RU" sz="1600"/>
          </a:p>
        </p:txBody>
      </p:sp>
      <p:pic>
        <p:nvPicPr>
          <p:cNvPr id="8" name="Picture 7" descr="A qr code with green squares&#10;&#10;Description automatically generated">
            <a:extLst>
              <a:ext uri="{FF2B5EF4-FFF2-40B4-BE49-F238E27FC236}">
                <a16:creationId xmlns:a16="http://schemas.microsoft.com/office/drawing/2014/main" id="{62ABBCF2-3A87-2E88-107F-4A2A78301333}"/>
              </a:ext>
            </a:extLst>
          </p:cNvPr>
          <p:cNvPicPr>
            <a:picLocks noChangeAspect="1"/>
          </p:cNvPicPr>
          <p:nvPr/>
        </p:nvPicPr>
        <p:blipFill>
          <a:blip r:embed="rId4"/>
          <a:stretch>
            <a:fillRect/>
          </a:stretch>
        </p:blipFill>
        <p:spPr>
          <a:xfrm>
            <a:off x="1058435" y="184875"/>
            <a:ext cx="1732818" cy="1732818"/>
          </a:xfrm>
          <a:prstGeom prst="rect">
            <a:avLst/>
          </a:prstGeom>
        </p:spPr>
      </p:pic>
    </p:spTree>
    <p:extLst>
      <p:ext uri="{BB962C8B-B14F-4D97-AF65-F5344CB8AC3E}">
        <p14:creationId xmlns:p14="http://schemas.microsoft.com/office/powerpoint/2010/main" val="41220847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2BEA606-5DC5-1C1C-564A-2CD260BC7318}"/>
              </a:ext>
            </a:extLst>
          </p:cNvPr>
          <p:cNvSpPr>
            <a:spLocks noGrp="1"/>
          </p:cNvSpPr>
          <p:nvPr>
            <p:ph type="ftr" sz="quarter" idx="3"/>
          </p:nvPr>
        </p:nvSpPr>
        <p:spPr/>
        <p:txBody>
          <a:bodyPr/>
          <a:lstStyle/>
          <a:p>
            <a:endParaRPr lang="en-US"/>
          </a:p>
        </p:txBody>
      </p:sp>
      <p:sp>
        <p:nvSpPr>
          <p:cNvPr id="6" name="Title 5">
            <a:extLst>
              <a:ext uri="{FF2B5EF4-FFF2-40B4-BE49-F238E27FC236}">
                <a16:creationId xmlns:a16="http://schemas.microsoft.com/office/drawing/2014/main" id="{84A26D16-A543-295C-4394-D7225FE52A60}"/>
              </a:ext>
            </a:extLst>
          </p:cNvPr>
          <p:cNvSpPr>
            <a:spLocks noGrp="1"/>
          </p:cNvSpPr>
          <p:nvPr>
            <p:ph type="title"/>
          </p:nvPr>
        </p:nvSpPr>
        <p:spPr>
          <a:xfrm>
            <a:off x="476031" y="2155192"/>
            <a:ext cx="2859087" cy="2134979"/>
          </a:xfrm>
        </p:spPr>
        <p:txBody>
          <a:bodyPr/>
          <a:lstStyle/>
          <a:p>
            <a:r>
              <a:rPr lang="en-US"/>
              <a:t>A simple parameter refresher</a:t>
            </a:r>
            <a:endParaRPr lang="ru-RU"/>
          </a:p>
        </p:txBody>
      </p:sp>
      <p:sp>
        <p:nvSpPr>
          <p:cNvPr id="15" name="Subtitle 14">
            <a:extLst>
              <a:ext uri="{FF2B5EF4-FFF2-40B4-BE49-F238E27FC236}">
                <a16:creationId xmlns:a16="http://schemas.microsoft.com/office/drawing/2014/main" id="{3F0F5ECA-44B1-B9A8-31B8-D79ECAF36B53}"/>
              </a:ext>
            </a:extLst>
          </p:cNvPr>
          <p:cNvSpPr>
            <a:spLocks noGrp="1"/>
          </p:cNvSpPr>
          <p:nvPr>
            <p:ph type="subTitle" idx="1"/>
          </p:nvPr>
        </p:nvSpPr>
        <p:spPr/>
        <p:txBody>
          <a:bodyPr/>
          <a:lstStyle/>
          <a:p>
            <a:endParaRPr lang="ru-RU"/>
          </a:p>
        </p:txBody>
      </p:sp>
      <p:sp>
        <p:nvSpPr>
          <p:cNvPr id="12" name="TextBox 11">
            <a:extLst>
              <a:ext uri="{FF2B5EF4-FFF2-40B4-BE49-F238E27FC236}">
                <a16:creationId xmlns:a16="http://schemas.microsoft.com/office/drawing/2014/main" id="{63A7CE52-1C44-DB12-57EC-78D10F0B5F30}"/>
              </a:ext>
            </a:extLst>
          </p:cNvPr>
          <p:cNvSpPr txBox="1"/>
          <p:nvPr/>
        </p:nvSpPr>
        <p:spPr>
          <a:xfrm>
            <a:off x="4023814" y="1591466"/>
            <a:ext cx="4485564" cy="1631216"/>
          </a:xfrm>
          <a:prstGeom prst="rect">
            <a:avLst/>
          </a:prstGeom>
          <a:noFill/>
        </p:spPr>
        <p:txBody>
          <a:bodyPr wrap="square">
            <a:spAutoFit/>
          </a:bodyPr>
          <a:lstStyle/>
          <a:p>
            <a:r>
              <a:rPr lang="ru-RU" sz="2000">
                <a:solidFill>
                  <a:srgbClr val="0070C0"/>
                </a:solidFill>
              </a:rPr>
              <a:t>param(</a:t>
            </a:r>
          </a:p>
          <a:p>
            <a:r>
              <a:rPr lang="ru-RU" sz="2000">
                <a:solidFill>
                  <a:srgbClr val="0070C0"/>
                </a:solidFill>
              </a:rPr>
              <a:t>	[switch]$AllEventLogs,</a:t>
            </a:r>
          </a:p>
          <a:p>
            <a:r>
              <a:rPr lang="ru-RU" sz="2000">
                <a:solidFill>
                  <a:srgbClr val="0070C0"/>
                </a:solidFill>
              </a:rPr>
              <a:t>	[switch]$ExtendedEventLogs</a:t>
            </a:r>
            <a:r>
              <a:rPr lang="en-US" sz="2000">
                <a:solidFill>
                  <a:srgbClr val="0070C0"/>
                </a:solidFill>
              </a:rPr>
              <a:t>,</a:t>
            </a:r>
          </a:p>
          <a:p>
            <a:r>
              <a:rPr lang="en-US" sz="2000">
                <a:solidFill>
                  <a:srgbClr val="0070C0"/>
                </a:solidFill>
              </a:rPr>
              <a:t>	[string]$</a:t>
            </a:r>
            <a:r>
              <a:rPr lang="en-US" sz="2000" err="1">
                <a:solidFill>
                  <a:srgbClr val="0070C0"/>
                </a:solidFill>
              </a:rPr>
              <a:t>ExportPath</a:t>
            </a:r>
            <a:endParaRPr lang="ru-RU" sz="2000">
              <a:solidFill>
                <a:srgbClr val="0070C0"/>
              </a:solidFill>
            </a:endParaRPr>
          </a:p>
          <a:p>
            <a:r>
              <a:rPr lang="ru-RU" sz="2000">
                <a:solidFill>
                  <a:srgbClr val="0070C0"/>
                </a:solidFill>
              </a:rPr>
              <a:t>)</a:t>
            </a:r>
          </a:p>
        </p:txBody>
      </p:sp>
      <p:sp>
        <p:nvSpPr>
          <p:cNvPr id="13" name="TextBox 12">
            <a:extLst>
              <a:ext uri="{FF2B5EF4-FFF2-40B4-BE49-F238E27FC236}">
                <a16:creationId xmlns:a16="http://schemas.microsoft.com/office/drawing/2014/main" id="{566014DA-94C8-D179-C08A-9B98C9ED5EC9}"/>
              </a:ext>
            </a:extLst>
          </p:cNvPr>
          <p:cNvSpPr txBox="1"/>
          <p:nvPr/>
        </p:nvSpPr>
        <p:spPr>
          <a:xfrm>
            <a:off x="8445289" y="1913982"/>
            <a:ext cx="3678472" cy="1200329"/>
          </a:xfrm>
          <a:prstGeom prst="rect">
            <a:avLst/>
          </a:prstGeom>
          <a:noFill/>
        </p:spPr>
        <p:txBody>
          <a:bodyPr wrap="square" rtlCol="0">
            <a:spAutoFit/>
          </a:bodyPr>
          <a:lstStyle/>
          <a:p>
            <a:pPr marL="285750" indent="-285750">
              <a:buFont typeface="Arial" panose="020B0604020202020204" pitchFamily="34" charset="0"/>
              <a:buChar char="•"/>
            </a:pPr>
            <a:r>
              <a:rPr lang="en-US"/>
              <a:t>Two switches (Boolean) control same operation</a:t>
            </a:r>
          </a:p>
          <a:p>
            <a:pPr marL="285750" indent="-285750">
              <a:buFont typeface="Arial" panose="020B0604020202020204" pitchFamily="34" charset="0"/>
              <a:buChar char="•"/>
            </a:pPr>
            <a:r>
              <a:rPr lang="en-US"/>
              <a:t>String Input</a:t>
            </a:r>
          </a:p>
          <a:p>
            <a:pPr marL="285750" indent="-285750">
              <a:buFont typeface="Arial" panose="020B0604020202020204" pitchFamily="34" charset="0"/>
              <a:buChar char="•"/>
            </a:pPr>
            <a:endParaRPr lang="ru-RU"/>
          </a:p>
        </p:txBody>
      </p:sp>
      <p:sp>
        <p:nvSpPr>
          <p:cNvPr id="14" name="TextBox 13">
            <a:extLst>
              <a:ext uri="{FF2B5EF4-FFF2-40B4-BE49-F238E27FC236}">
                <a16:creationId xmlns:a16="http://schemas.microsoft.com/office/drawing/2014/main" id="{530C18D8-5840-42EC-B773-CD31E25B927F}"/>
              </a:ext>
            </a:extLst>
          </p:cNvPr>
          <p:cNvSpPr txBox="1"/>
          <p:nvPr/>
        </p:nvSpPr>
        <p:spPr>
          <a:xfrm>
            <a:off x="4731779" y="3911897"/>
            <a:ext cx="8211670" cy="400110"/>
          </a:xfrm>
          <a:prstGeom prst="rect">
            <a:avLst/>
          </a:prstGeom>
          <a:noFill/>
        </p:spPr>
        <p:txBody>
          <a:bodyPr wrap="square" rtlCol="0">
            <a:spAutoFit/>
          </a:bodyPr>
          <a:lstStyle/>
          <a:p>
            <a:r>
              <a:rPr lang="en-US" sz="2000">
                <a:solidFill>
                  <a:srgbClr val="ED2B3D"/>
                </a:solidFill>
              </a:rPr>
              <a:t>This will result in a lot of PEBKAC and validation errors!</a:t>
            </a:r>
            <a:endParaRPr lang="ru-RU" sz="2000">
              <a:solidFill>
                <a:srgbClr val="ED2B3D"/>
              </a:solidFill>
            </a:endParaRPr>
          </a:p>
        </p:txBody>
      </p:sp>
    </p:spTree>
    <p:extLst>
      <p:ext uri="{BB962C8B-B14F-4D97-AF65-F5344CB8AC3E}">
        <p14:creationId xmlns:p14="http://schemas.microsoft.com/office/powerpoint/2010/main" val="14144743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4A26D16-A543-295C-4394-D7225FE52A60}"/>
              </a:ext>
            </a:extLst>
          </p:cNvPr>
          <p:cNvSpPr>
            <a:spLocks noGrp="1"/>
          </p:cNvSpPr>
          <p:nvPr>
            <p:ph type="title"/>
          </p:nvPr>
        </p:nvSpPr>
        <p:spPr/>
        <p:txBody>
          <a:bodyPr/>
          <a:lstStyle/>
          <a:p>
            <a:r>
              <a:rPr lang="en-US"/>
              <a:t>Business Logic Dictates Parameters, Not Vice-Versa</a:t>
            </a:r>
            <a:endParaRPr lang="ru-RU"/>
          </a:p>
        </p:txBody>
      </p:sp>
      <p:sp>
        <p:nvSpPr>
          <p:cNvPr id="2" name="Footer Placeholder 1">
            <a:extLst>
              <a:ext uri="{FF2B5EF4-FFF2-40B4-BE49-F238E27FC236}">
                <a16:creationId xmlns:a16="http://schemas.microsoft.com/office/drawing/2014/main" id="{02BEA606-5DC5-1C1C-564A-2CD260BC7318}"/>
              </a:ext>
            </a:extLst>
          </p:cNvPr>
          <p:cNvSpPr>
            <a:spLocks noGrp="1"/>
          </p:cNvSpPr>
          <p:nvPr>
            <p:ph type="ftr" sz="quarter" idx="3"/>
          </p:nvPr>
        </p:nvSpPr>
        <p:spPr/>
        <p:txBody>
          <a:bodyPr/>
          <a:lstStyle/>
          <a:p>
            <a:endParaRPr lang="en-US"/>
          </a:p>
        </p:txBody>
      </p:sp>
      <p:sp>
        <p:nvSpPr>
          <p:cNvPr id="4" name="TextBox 3">
            <a:extLst>
              <a:ext uri="{FF2B5EF4-FFF2-40B4-BE49-F238E27FC236}">
                <a16:creationId xmlns:a16="http://schemas.microsoft.com/office/drawing/2014/main" id="{AEC4A1A9-C9A7-0938-E870-48417CD53807}"/>
              </a:ext>
            </a:extLst>
          </p:cNvPr>
          <p:cNvSpPr txBox="1"/>
          <p:nvPr/>
        </p:nvSpPr>
        <p:spPr>
          <a:xfrm>
            <a:off x="598795" y="971731"/>
            <a:ext cx="5085497" cy="4524315"/>
          </a:xfrm>
          <a:prstGeom prst="rect">
            <a:avLst/>
          </a:prstGeom>
          <a:noFill/>
        </p:spPr>
        <p:txBody>
          <a:bodyPr wrap="square">
            <a:spAutoFit/>
          </a:bodyPr>
          <a:lstStyle/>
          <a:p>
            <a:r>
              <a:rPr lang="ru-RU" sz="1600"/>
              <a:t>param(</a:t>
            </a:r>
          </a:p>
          <a:p>
            <a:r>
              <a:rPr lang="ru-RU" sz="1600"/>
              <a:t>	[switch]$Last24H,</a:t>
            </a:r>
          </a:p>
          <a:p>
            <a:r>
              <a:rPr lang="ru-RU" sz="1600"/>
              <a:t>	[switch]$Last7Days,</a:t>
            </a:r>
          </a:p>
          <a:p>
            <a:r>
              <a:rPr lang="ru-RU" sz="1600"/>
              <a:t>	[switch]$AllTime,</a:t>
            </a:r>
          </a:p>
          <a:p>
            <a:r>
              <a:rPr lang="ru-RU" sz="1600"/>
              <a:t>	[switch]$ExportToFile,</a:t>
            </a:r>
          </a:p>
          <a:p>
            <a:r>
              <a:rPr lang="ru-RU" sz="1600"/>
              <a:t>	[string]$ExporType,</a:t>
            </a:r>
          </a:p>
          <a:p>
            <a:r>
              <a:rPr lang="ru-RU" sz="1600"/>
              <a:t>	[String]$ExportPath,</a:t>
            </a:r>
          </a:p>
          <a:p>
            <a:r>
              <a:rPr lang="ru-RU" sz="1600"/>
              <a:t>	[switch]$ExportCustomTimeRange,</a:t>
            </a:r>
          </a:p>
          <a:p>
            <a:r>
              <a:rPr lang="ru-RU" sz="1600"/>
              <a:t>	[string]$StartTimeForExport,</a:t>
            </a:r>
          </a:p>
          <a:p>
            <a:r>
              <a:rPr lang="ru-RU" sz="1600"/>
              <a:t>	[String]$endTimeForExport,</a:t>
            </a:r>
          </a:p>
          <a:p>
            <a:r>
              <a:rPr lang="ru-RU" sz="1600"/>
              <a:t>	[string]$ReportName,</a:t>
            </a:r>
          </a:p>
          <a:p>
            <a:r>
              <a:rPr lang="ru-RU" sz="1600"/>
              <a:t>	[switch]$IncludeAgents?,</a:t>
            </a:r>
          </a:p>
          <a:p>
            <a:r>
              <a:rPr lang="ru-RU" sz="1600"/>
              <a:t>	[string]$RemoteVBRServerAddress,</a:t>
            </a:r>
          </a:p>
          <a:p>
            <a:r>
              <a:rPr lang="ru-RU" sz="1600"/>
              <a:t>	[string]$RemoteVBRServerUsername,</a:t>
            </a:r>
          </a:p>
          <a:p>
            <a:r>
              <a:rPr lang="ru-RU" sz="1600"/>
              <a:t>	[string]$RemoteVBRServerPassword,</a:t>
            </a:r>
          </a:p>
          <a:p>
            <a:r>
              <a:rPr lang="ru-RU" sz="1600"/>
              <a:t>	[string]$DebugMode,</a:t>
            </a:r>
          </a:p>
          <a:p>
            <a:r>
              <a:rPr lang="ru-RU" sz="1600"/>
              <a:t>	[string]$loggingPath</a:t>
            </a:r>
          </a:p>
          <a:p>
            <a:r>
              <a:rPr lang="ru-RU" sz="1600"/>
              <a:t>)</a:t>
            </a:r>
          </a:p>
        </p:txBody>
      </p:sp>
      <p:pic>
        <p:nvPicPr>
          <p:cNvPr id="9" name="Picture 8" descr="an animated GIF of a powershell script with many parameters. The user appears to struggle to find which parameters they need as well as which they have not used already. Many of the parameters have typos in the name, are unclear about the purpose of the parameter, and / or are for functionality that isn't suitable for the script. ">
            <a:extLst>
              <a:ext uri="{FF2B5EF4-FFF2-40B4-BE49-F238E27FC236}">
                <a16:creationId xmlns:a16="http://schemas.microsoft.com/office/drawing/2014/main" id="{D07377EE-A427-FD5B-2434-1F415023E515}"/>
              </a:ext>
            </a:extLst>
          </p:cNvPr>
          <p:cNvPicPr>
            <a:picLocks noChangeAspect="1"/>
          </p:cNvPicPr>
          <p:nvPr/>
        </p:nvPicPr>
        <p:blipFill>
          <a:blip r:embed="rId3"/>
          <a:stretch>
            <a:fillRect/>
          </a:stretch>
        </p:blipFill>
        <p:spPr>
          <a:xfrm>
            <a:off x="5040020" y="1025525"/>
            <a:ext cx="7028831" cy="3969651"/>
          </a:xfrm>
          <a:prstGeom prst="rect">
            <a:avLst/>
          </a:prstGeom>
        </p:spPr>
      </p:pic>
    </p:spTree>
    <p:extLst>
      <p:ext uri="{BB962C8B-B14F-4D97-AF65-F5344CB8AC3E}">
        <p14:creationId xmlns:p14="http://schemas.microsoft.com/office/powerpoint/2010/main" val="28408291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descr="Powershell window attempting to run a script with multiple parameters. Powershell returns an error as the Export As parameter was given an invalid input bologna. The error tells that Powershell cannot validate the argument on the parameter Export As because bologna is not in the set of options CSV or HTML">
            <a:extLst>
              <a:ext uri="{FF2B5EF4-FFF2-40B4-BE49-F238E27FC236}">
                <a16:creationId xmlns:a16="http://schemas.microsoft.com/office/drawing/2014/main" id="{3260FDC9-8898-5DFF-58CA-1E1A7804A926}"/>
              </a:ext>
            </a:extLst>
          </p:cNvPr>
          <p:cNvSpPr>
            <a:spLocks noGrp="1"/>
          </p:cNvSpPr>
          <p:nvPr>
            <p:ph type="ftr" sz="quarter" idx="3"/>
          </p:nvPr>
        </p:nvSpPr>
        <p:spPr/>
        <p:txBody>
          <a:bodyPr/>
          <a:lstStyle/>
          <a:p>
            <a:endParaRPr lang="en-US"/>
          </a:p>
        </p:txBody>
      </p:sp>
      <p:sp>
        <p:nvSpPr>
          <p:cNvPr id="6" name="Title 5">
            <a:extLst>
              <a:ext uri="{FF2B5EF4-FFF2-40B4-BE49-F238E27FC236}">
                <a16:creationId xmlns:a16="http://schemas.microsoft.com/office/drawing/2014/main" id="{5913BD2A-D474-4DD6-8305-C287B0190332}"/>
              </a:ext>
            </a:extLst>
          </p:cNvPr>
          <p:cNvSpPr>
            <a:spLocks noGrp="1"/>
          </p:cNvSpPr>
          <p:nvPr>
            <p:ph type="title"/>
          </p:nvPr>
        </p:nvSpPr>
        <p:spPr>
          <a:xfrm>
            <a:off x="495301" y="2116503"/>
            <a:ext cx="2859087" cy="2134979"/>
          </a:xfrm>
        </p:spPr>
        <p:txBody>
          <a:bodyPr/>
          <a:lstStyle/>
          <a:p>
            <a:r>
              <a:rPr lang="en-US"/>
              <a:t>Let’s Pretty That Up</a:t>
            </a:r>
            <a:endParaRPr lang="ru-RU"/>
          </a:p>
        </p:txBody>
      </p:sp>
      <p:sp>
        <p:nvSpPr>
          <p:cNvPr id="7" name="Subtitle 6">
            <a:extLst>
              <a:ext uri="{FF2B5EF4-FFF2-40B4-BE49-F238E27FC236}">
                <a16:creationId xmlns:a16="http://schemas.microsoft.com/office/drawing/2014/main" id="{4954A360-5262-640A-5913-E99BDE03C6DE}"/>
              </a:ext>
            </a:extLst>
          </p:cNvPr>
          <p:cNvSpPr>
            <a:spLocks noGrp="1"/>
          </p:cNvSpPr>
          <p:nvPr>
            <p:ph type="subTitle" idx="1"/>
          </p:nvPr>
        </p:nvSpPr>
        <p:spPr/>
        <p:txBody>
          <a:bodyPr/>
          <a:lstStyle/>
          <a:p>
            <a:endParaRPr lang="ru-RU"/>
          </a:p>
        </p:txBody>
      </p:sp>
      <p:sp>
        <p:nvSpPr>
          <p:cNvPr id="10" name="TextBox 9">
            <a:extLst>
              <a:ext uri="{FF2B5EF4-FFF2-40B4-BE49-F238E27FC236}">
                <a16:creationId xmlns:a16="http://schemas.microsoft.com/office/drawing/2014/main" id="{0BEA3247-131A-C949-A2D4-D1F35FC1226E}"/>
              </a:ext>
            </a:extLst>
          </p:cNvPr>
          <p:cNvSpPr txBox="1"/>
          <p:nvPr/>
        </p:nvSpPr>
        <p:spPr>
          <a:xfrm>
            <a:off x="4017560" y="382012"/>
            <a:ext cx="7617156" cy="3046988"/>
          </a:xfrm>
          <a:prstGeom prst="rect">
            <a:avLst/>
          </a:prstGeom>
          <a:noFill/>
        </p:spPr>
        <p:txBody>
          <a:bodyPr wrap="square">
            <a:spAutoFit/>
          </a:bodyPr>
          <a:lstStyle/>
          <a:p>
            <a:r>
              <a:rPr lang="ru-RU" sz="1600"/>
              <a:t>param(</a:t>
            </a:r>
          </a:p>
          <a:p>
            <a:r>
              <a:rPr lang="ru-RU" sz="1600"/>
              <a:t>	[Parameter(Mandatory = $false)]</a:t>
            </a:r>
          </a:p>
          <a:p>
            <a:r>
              <a:rPr lang="ru-RU" sz="1600"/>
              <a:t>		[ValidateSet("Last 24 Hours","Last 7 days","All Time")]</a:t>
            </a:r>
          </a:p>
          <a:p>
            <a:r>
              <a:rPr lang="ru-RU" sz="1600"/>
              <a:t>		[string]$TimeScope,</a:t>
            </a:r>
          </a:p>
          <a:p>
            <a:r>
              <a:rPr lang="ru-RU" sz="1600"/>
              <a:t>	[Parameter(Mandatory = $false)]</a:t>
            </a:r>
          </a:p>
          <a:p>
            <a:r>
              <a:rPr lang="ru-RU" sz="1600"/>
              <a:t>		[ValidateSet('CSV','HTML')]</a:t>
            </a:r>
          </a:p>
          <a:p>
            <a:r>
              <a:rPr lang="ru-RU" sz="1600"/>
              <a:t>		$ExportAs,</a:t>
            </a:r>
          </a:p>
          <a:p>
            <a:r>
              <a:rPr lang="ru-RU" sz="1600"/>
              <a:t>	[Parameter(Mandatory = $false)]</a:t>
            </a:r>
          </a:p>
          <a:p>
            <a:r>
              <a:rPr lang="ru-RU" sz="1600"/>
              <a:t>		[DateTime]$StartTime,</a:t>
            </a:r>
          </a:p>
          <a:p>
            <a:r>
              <a:rPr lang="ru-RU" sz="1600"/>
              <a:t>	[Parameter(Mandatory = $false)]</a:t>
            </a:r>
          </a:p>
          <a:p>
            <a:r>
              <a:rPr lang="ru-RU" sz="1600"/>
              <a:t>		[DateTime]$EndTime</a:t>
            </a:r>
          </a:p>
          <a:p>
            <a:r>
              <a:rPr lang="ru-RU" sz="1600"/>
              <a:t>)</a:t>
            </a:r>
          </a:p>
        </p:txBody>
      </p:sp>
      <p:pic>
        <p:nvPicPr>
          <p:cNvPr id="12" name="Picture 11" descr="A screenshot of a computer&#10;&#10;Description automatically generated">
            <a:extLst>
              <a:ext uri="{FF2B5EF4-FFF2-40B4-BE49-F238E27FC236}">
                <a16:creationId xmlns:a16="http://schemas.microsoft.com/office/drawing/2014/main" id="{A8A6479F-F44E-F20B-BA9E-2508333ADB2F}"/>
              </a:ext>
            </a:extLst>
          </p:cNvPr>
          <p:cNvPicPr>
            <a:picLocks noChangeAspect="1"/>
          </p:cNvPicPr>
          <p:nvPr/>
        </p:nvPicPr>
        <p:blipFill>
          <a:blip r:embed="rId3"/>
          <a:stretch>
            <a:fillRect/>
          </a:stretch>
        </p:blipFill>
        <p:spPr>
          <a:xfrm>
            <a:off x="4026660" y="4894052"/>
            <a:ext cx="7897428" cy="1511404"/>
          </a:xfrm>
          <a:prstGeom prst="rect">
            <a:avLst/>
          </a:prstGeom>
        </p:spPr>
      </p:pic>
      <p:pic>
        <p:nvPicPr>
          <p:cNvPr id="14" name="Picture 13" descr="A blue and white background&#10;&#10;Description automatically generated">
            <a:extLst>
              <a:ext uri="{FF2B5EF4-FFF2-40B4-BE49-F238E27FC236}">
                <a16:creationId xmlns:a16="http://schemas.microsoft.com/office/drawing/2014/main" id="{4EF885EE-E77E-393B-6834-237FCDCED2B9}"/>
              </a:ext>
            </a:extLst>
          </p:cNvPr>
          <p:cNvPicPr>
            <a:picLocks noChangeAspect="1"/>
          </p:cNvPicPr>
          <p:nvPr/>
        </p:nvPicPr>
        <p:blipFill>
          <a:blip r:embed="rId4"/>
          <a:stretch>
            <a:fillRect/>
          </a:stretch>
        </p:blipFill>
        <p:spPr>
          <a:xfrm>
            <a:off x="4017560" y="3330218"/>
            <a:ext cx="7863384" cy="1511404"/>
          </a:xfrm>
          <a:prstGeom prst="rect">
            <a:avLst/>
          </a:prstGeom>
        </p:spPr>
      </p:pic>
    </p:spTree>
    <p:extLst>
      <p:ext uri="{BB962C8B-B14F-4D97-AF65-F5344CB8AC3E}">
        <p14:creationId xmlns:p14="http://schemas.microsoft.com/office/powerpoint/2010/main" val="37263789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EEF5E13F-643E-BD63-70D6-F353973C638C}"/>
              </a:ext>
            </a:extLst>
          </p:cNvPr>
          <p:cNvSpPr>
            <a:spLocks noGrp="1"/>
          </p:cNvSpPr>
          <p:nvPr>
            <p:ph type="ftr" sz="quarter" idx="3"/>
          </p:nvPr>
        </p:nvSpPr>
        <p:spPr/>
        <p:txBody>
          <a:bodyPr/>
          <a:lstStyle/>
          <a:p>
            <a:endParaRPr lang="en-US"/>
          </a:p>
        </p:txBody>
      </p:sp>
      <p:sp>
        <p:nvSpPr>
          <p:cNvPr id="9" name="Title 8">
            <a:extLst>
              <a:ext uri="{FF2B5EF4-FFF2-40B4-BE49-F238E27FC236}">
                <a16:creationId xmlns:a16="http://schemas.microsoft.com/office/drawing/2014/main" id="{6EAF6695-9176-1948-A4F9-72655C5407C3}"/>
              </a:ext>
            </a:extLst>
          </p:cNvPr>
          <p:cNvSpPr>
            <a:spLocks noGrp="1"/>
          </p:cNvSpPr>
          <p:nvPr>
            <p:ph type="title"/>
          </p:nvPr>
        </p:nvSpPr>
        <p:spPr>
          <a:xfrm>
            <a:off x="473893" y="2061152"/>
            <a:ext cx="2859087" cy="2134979"/>
          </a:xfrm>
        </p:spPr>
        <p:txBody>
          <a:bodyPr/>
          <a:lstStyle/>
          <a:p>
            <a:r>
              <a:rPr lang="en-US"/>
              <a:t>Validating Parameters</a:t>
            </a:r>
            <a:endParaRPr lang="ru-RU"/>
          </a:p>
        </p:txBody>
      </p:sp>
      <p:sp>
        <p:nvSpPr>
          <p:cNvPr id="10" name="Subtitle 9">
            <a:extLst>
              <a:ext uri="{FF2B5EF4-FFF2-40B4-BE49-F238E27FC236}">
                <a16:creationId xmlns:a16="http://schemas.microsoft.com/office/drawing/2014/main" id="{84C84836-99D4-13B8-5778-39D2EDF40543}"/>
              </a:ext>
            </a:extLst>
          </p:cNvPr>
          <p:cNvSpPr>
            <a:spLocks noGrp="1"/>
          </p:cNvSpPr>
          <p:nvPr>
            <p:ph type="subTitle" idx="1"/>
          </p:nvPr>
        </p:nvSpPr>
        <p:spPr>
          <a:xfrm>
            <a:off x="495301" y="3830671"/>
            <a:ext cx="2859086" cy="628841"/>
          </a:xfrm>
        </p:spPr>
        <p:txBody>
          <a:bodyPr/>
          <a:lstStyle/>
          <a:p>
            <a:r>
              <a:rPr lang="en-US"/>
              <a:t>How </a:t>
            </a:r>
            <a:r>
              <a:rPr lang="en-US" err="1"/>
              <a:t>Powershell</a:t>
            </a:r>
            <a:r>
              <a:rPr lang="en-US"/>
              <a:t> wants you to do it</a:t>
            </a:r>
            <a:endParaRPr lang="ru-RU"/>
          </a:p>
        </p:txBody>
      </p:sp>
      <p:sp>
        <p:nvSpPr>
          <p:cNvPr id="11" name="Content Placeholder 10">
            <a:extLst>
              <a:ext uri="{FF2B5EF4-FFF2-40B4-BE49-F238E27FC236}">
                <a16:creationId xmlns:a16="http://schemas.microsoft.com/office/drawing/2014/main" id="{E9A9653E-D9BE-9470-2592-F3163E491C46}"/>
              </a:ext>
            </a:extLst>
          </p:cNvPr>
          <p:cNvSpPr>
            <a:spLocks noGrp="1"/>
          </p:cNvSpPr>
          <p:nvPr>
            <p:ph sz="quarter" idx="10"/>
          </p:nvPr>
        </p:nvSpPr>
        <p:spPr>
          <a:xfrm>
            <a:off x="3970646" y="441795"/>
            <a:ext cx="8004412" cy="1372570"/>
          </a:xfrm>
        </p:spPr>
        <p:txBody>
          <a:bodyPr/>
          <a:lstStyle/>
          <a:p>
            <a:pPr>
              <a:spcBef>
                <a:spcPts val="0"/>
              </a:spcBef>
              <a:spcAft>
                <a:spcPts val="0"/>
              </a:spcAft>
            </a:pPr>
            <a:r>
              <a:rPr lang="en-US" sz="1600"/>
              <a:t>param(</a:t>
            </a:r>
          </a:p>
          <a:p>
            <a:pPr>
              <a:spcBef>
                <a:spcPts val="0"/>
              </a:spcBef>
              <a:spcAft>
                <a:spcPts val="0"/>
              </a:spcAft>
            </a:pPr>
            <a:r>
              <a:rPr lang="en-US" sz="1600"/>
              <a:t>	[Parameter(Mandatory = $false), </a:t>
            </a:r>
            <a:r>
              <a:rPr lang="en-US" sz="1600" err="1"/>
              <a:t>ParameterSetName</a:t>
            </a:r>
            <a:r>
              <a:rPr lang="en-US" sz="1600"/>
              <a:t> = “Export”, Position = 0]</a:t>
            </a:r>
          </a:p>
          <a:p>
            <a:pPr>
              <a:spcBef>
                <a:spcPts val="0"/>
              </a:spcBef>
              <a:spcAft>
                <a:spcPts val="0"/>
              </a:spcAft>
            </a:pPr>
            <a:r>
              <a:rPr lang="en-US" sz="1600"/>
              <a:t>		[</a:t>
            </a:r>
            <a:r>
              <a:rPr lang="en-US" sz="1600" err="1"/>
              <a:t>ValidateSet</a:t>
            </a:r>
            <a:r>
              <a:rPr lang="en-US" sz="1600"/>
              <a:t>("Last 24 </a:t>
            </a:r>
            <a:r>
              <a:rPr lang="en-US" sz="1600" err="1"/>
              <a:t>Hours","Last</a:t>
            </a:r>
            <a:r>
              <a:rPr lang="en-US" sz="1600"/>
              <a:t> 7 </a:t>
            </a:r>
            <a:r>
              <a:rPr lang="en-US" sz="1600" err="1"/>
              <a:t>days","All</a:t>
            </a:r>
            <a:r>
              <a:rPr lang="en-US" sz="1600"/>
              <a:t> Time")]</a:t>
            </a:r>
          </a:p>
          <a:p>
            <a:pPr>
              <a:spcBef>
                <a:spcPts val="0"/>
              </a:spcBef>
              <a:spcAft>
                <a:spcPts val="0"/>
              </a:spcAft>
            </a:pPr>
            <a:r>
              <a:rPr lang="en-US" sz="1600"/>
              <a:t>		[string]$</a:t>
            </a:r>
            <a:r>
              <a:rPr lang="en-US" sz="1600" err="1"/>
              <a:t>TimeScope</a:t>
            </a:r>
            <a:r>
              <a:rPr lang="en-US" sz="1600"/>
              <a:t>,</a:t>
            </a:r>
            <a:endParaRPr lang="ru-RU" sz="1600"/>
          </a:p>
        </p:txBody>
      </p:sp>
      <p:sp>
        <p:nvSpPr>
          <p:cNvPr id="12" name="TextBox 11">
            <a:extLst>
              <a:ext uri="{FF2B5EF4-FFF2-40B4-BE49-F238E27FC236}">
                <a16:creationId xmlns:a16="http://schemas.microsoft.com/office/drawing/2014/main" id="{04DAE872-6B31-1EA3-1CBC-644521EC0CC2}"/>
              </a:ext>
            </a:extLst>
          </p:cNvPr>
          <p:cNvSpPr txBox="1"/>
          <p:nvPr/>
        </p:nvSpPr>
        <p:spPr>
          <a:xfrm>
            <a:off x="4005618" y="1719263"/>
            <a:ext cx="7934468" cy="1754326"/>
          </a:xfrm>
          <a:prstGeom prst="rect">
            <a:avLst/>
          </a:prstGeom>
          <a:noFill/>
        </p:spPr>
        <p:txBody>
          <a:bodyPr wrap="square" rtlCol="0">
            <a:spAutoFit/>
          </a:bodyPr>
          <a:lstStyle/>
          <a:p>
            <a:r>
              <a:rPr lang="en-US">
                <a:hlinkClick r:id="rId3"/>
              </a:rPr>
              <a:t>Parameter Set</a:t>
            </a:r>
            <a:r>
              <a:rPr lang="en-US"/>
              <a:t> – Define which parameters are shown to user</a:t>
            </a:r>
          </a:p>
          <a:p>
            <a:endParaRPr lang="en-US"/>
          </a:p>
          <a:p>
            <a:r>
              <a:rPr lang="en-US" b="1"/>
              <a:t>Flags:</a:t>
            </a:r>
          </a:p>
          <a:p>
            <a:r>
              <a:rPr lang="en-US"/>
              <a:t>Mandatory – Do we require this parameter?</a:t>
            </a:r>
          </a:p>
          <a:p>
            <a:r>
              <a:rPr lang="en-US" err="1"/>
              <a:t>ParameterSetName</a:t>
            </a:r>
            <a:r>
              <a:rPr lang="en-US"/>
              <a:t> – Which other parameters must be used if this one is?</a:t>
            </a:r>
          </a:p>
          <a:p>
            <a:r>
              <a:rPr lang="en-US"/>
              <a:t>Position – order that the parameter must be set in</a:t>
            </a:r>
          </a:p>
        </p:txBody>
      </p:sp>
      <p:pic>
        <p:nvPicPr>
          <p:cNvPr id="14" name="Picture 13" descr="Screenshot of a powershell session running a script. The script has the parameters Time Scope and Export As. The script then forces the user to enter values for Start Time, End Time, and Backup. The user enters a date in date month year format for Start Time, the user tries to use &quot;today&quot; for the End Time, and powershell returns a message &quot;cannot recognize &quot;today&quot; as a System.DateTime due to a format error&quot;.&#10;The user then enters another date, and the script asks for a value for Backup. The user enters a name &quot;my most important backup&quot;, and the script errors trying to convert the text they entered to an object of type Veeam dot Backup dot Core dot CBackup">
            <a:extLst>
              <a:ext uri="{FF2B5EF4-FFF2-40B4-BE49-F238E27FC236}">
                <a16:creationId xmlns:a16="http://schemas.microsoft.com/office/drawing/2014/main" id="{4BAA0309-28AC-979E-5611-38332229BA52}"/>
              </a:ext>
            </a:extLst>
          </p:cNvPr>
          <p:cNvPicPr>
            <a:picLocks noChangeAspect="1"/>
          </p:cNvPicPr>
          <p:nvPr/>
        </p:nvPicPr>
        <p:blipFill>
          <a:blip r:embed="rId4"/>
          <a:stretch>
            <a:fillRect/>
          </a:stretch>
        </p:blipFill>
        <p:spPr>
          <a:xfrm>
            <a:off x="4699663" y="3429000"/>
            <a:ext cx="6438900" cy="2802719"/>
          </a:xfrm>
          <a:prstGeom prst="rect">
            <a:avLst/>
          </a:prstGeom>
        </p:spPr>
      </p:pic>
      <p:sp>
        <p:nvSpPr>
          <p:cNvPr id="5" name="Title 4">
            <a:extLst>
              <a:ext uri="{FF2B5EF4-FFF2-40B4-BE49-F238E27FC236}">
                <a16:creationId xmlns:a16="http://schemas.microsoft.com/office/drawing/2014/main" id="{9A87248B-18B0-6AA7-873B-83F07C2ACCEB}"/>
              </a:ext>
            </a:extLst>
          </p:cNvPr>
          <p:cNvSpPr txBox="1">
            <a:spLocks/>
          </p:cNvSpPr>
          <p:nvPr/>
        </p:nvSpPr>
        <p:spPr>
          <a:xfrm>
            <a:off x="763455" y="1816708"/>
            <a:ext cx="2168888" cy="526763"/>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b="0" i="0" kern="1200">
                <a:solidFill>
                  <a:schemeClr val="bg1"/>
                </a:solidFill>
                <a:latin typeface="ES Build" pitchFamily="2" charset="77"/>
                <a:ea typeface="ES Build" pitchFamily="2" charset="77"/>
                <a:cs typeface="+mj-cs"/>
              </a:defRPr>
            </a:lvl1pPr>
          </a:lstStyle>
          <a:p>
            <a:r>
              <a:rPr lang="en-US" sz="1600" dirty="0"/>
              <a:t>Script and Presentation</a:t>
            </a:r>
            <a:endParaRPr lang="ru-RU" sz="1600" dirty="0"/>
          </a:p>
        </p:txBody>
      </p:sp>
      <p:pic>
        <p:nvPicPr>
          <p:cNvPr id="7" name="Picture 6" descr="A qr code with green squares&#10;&#10;Description automatically generated">
            <a:extLst>
              <a:ext uri="{FF2B5EF4-FFF2-40B4-BE49-F238E27FC236}">
                <a16:creationId xmlns:a16="http://schemas.microsoft.com/office/drawing/2014/main" id="{021528AF-7BC3-DC14-9F7B-3FBA3579061F}"/>
              </a:ext>
            </a:extLst>
          </p:cNvPr>
          <p:cNvPicPr>
            <a:picLocks noChangeAspect="1"/>
          </p:cNvPicPr>
          <p:nvPr/>
        </p:nvPicPr>
        <p:blipFill>
          <a:blip r:embed="rId5"/>
          <a:stretch>
            <a:fillRect/>
          </a:stretch>
        </p:blipFill>
        <p:spPr>
          <a:xfrm>
            <a:off x="977291" y="81547"/>
            <a:ext cx="1732818" cy="1732818"/>
          </a:xfrm>
          <a:prstGeom prst="rect">
            <a:avLst/>
          </a:prstGeom>
        </p:spPr>
      </p:pic>
    </p:spTree>
    <p:extLst>
      <p:ext uri="{BB962C8B-B14F-4D97-AF65-F5344CB8AC3E}">
        <p14:creationId xmlns:p14="http://schemas.microsoft.com/office/powerpoint/2010/main" val="20029172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78BD7F-102F-EF54-8F58-CD7E1E16B5A3}"/>
              </a:ext>
            </a:extLst>
          </p:cNvPr>
          <p:cNvSpPr>
            <a:spLocks noGrp="1"/>
          </p:cNvSpPr>
          <p:nvPr>
            <p:ph type="ctrTitle"/>
          </p:nvPr>
        </p:nvSpPr>
        <p:spPr/>
        <p:txBody>
          <a:bodyPr/>
          <a:lstStyle/>
          <a:p>
            <a:r>
              <a:rPr lang="en-US"/>
              <a:t>Smart PowerShell Design Tricks</a:t>
            </a:r>
          </a:p>
        </p:txBody>
      </p:sp>
      <p:sp>
        <p:nvSpPr>
          <p:cNvPr id="3" name="Subtitle 2">
            <a:extLst>
              <a:ext uri="{FF2B5EF4-FFF2-40B4-BE49-F238E27FC236}">
                <a16:creationId xmlns:a16="http://schemas.microsoft.com/office/drawing/2014/main" id="{B4574F3E-986C-59AC-F03D-964173D01DE1}"/>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9387E69A-264E-425F-9A8D-053434943157}"/>
              </a:ext>
            </a:extLst>
          </p:cNvPr>
          <p:cNvSpPr>
            <a:spLocks noGrp="1"/>
          </p:cNvSpPr>
          <p:nvPr>
            <p:ph type="body" sz="quarter" idx="13"/>
          </p:nvPr>
        </p:nvSpPr>
        <p:spPr/>
        <p:txBody>
          <a:bodyPr/>
          <a:lstStyle/>
          <a:p>
            <a:r>
              <a:rPr lang="en-US"/>
              <a:t>October 2024</a:t>
            </a:r>
          </a:p>
        </p:txBody>
      </p:sp>
      <p:sp>
        <p:nvSpPr>
          <p:cNvPr id="5" name="Text Placeholder 4">
            <a:extLst>
              <a:ext uri="{FF2B5EF4-FFF2-40B4-BE49-F238E27FC236}">
                <a16:creationId xmlns:a16="http://schemas.microsoft.com/office/drawing/2014/main" id="{799FCB52-1C8C-1C8A-0052-A4BA303C7DFF}"/>
              </a:ext>
            </a:extLst>
          </p:cNvPr>
          <p:cNvSpPr>
            <a:spLocks noGrp="1"/>
          </p:cNvSpPr>
          <p:nvPr>
            <p:ph type="body" sz="quarter" idx="14"/>
          </p:nvPr>
        </p:nvSpPr>
        <p:spPr/>
        <p:txBody>
          <a:bodyPr/>
          <a:lstStyle/>
          <a:p>
            <a:r>
              <a:rPr lang="en-US"/>
              <a:t>Chris Arceneaux</a:t>
            </a:r>
          </a:p>
          <a:p>
            <a:r>
              <a:rPr lang="en-US" sz="1800"/>
              <a:t>Senior Solutions Architect</a:t>
            </a:r>
          </a:p>
          <a:p>
            <a:endParaRPr lang="en-US"/>
          </a:p>
        </p:txBody>
      </p:sp>
      <p:pic>
        <p:nvPicPr>
          <p:cNvPr id="10" name="Picture Placeholder 9" descr="A person in a suit and bow tie&#10;&#10;Description automatically generated">
            <a:extLst>
              <a:ext uri="{FF2B5EF4-FFF2-40B4-BE49-F238E27FC236}">
                <a16:creationId xmlns:a16="http://schemas.microsoft.com/office/drawing/2014/main" id="{50DA7788-3319-84B4-45DF-16D396B8CD96}"/>
              </a:ext>
            </a:extLst>
          </p:cNvPr>
          <p:cNvPicPr>
            <a:picLocks noGrp="1" noChangeAspect="1"/>
          </p:cNvPicPr>
          <p:nvPr>
            <p:ph type="pic" sz="quarter" idx="15"/>
          </p:nvPr>
        </p:nvPicPr>
        <p:blipFill>
          <a:blip r:embed="rId3"/>
          <a:srcRect/>
          <a:stretch>
            <a:fillRect/>
          </a:stretch>
        </p:blipFill>
        <p:spPr/>
      </p:pic>
      <p:sp>
        <p:nvSpPr>
          <p:cNvPr id="7" name="Text Placeholder 6">
            <a:extLst>
              <a:ext uri="{FF2B5EF4-FFF2-40B4-BE49-F238E27FC236}">
                <a16:creationId xmlns:a16="http://schemas.microsoft.com/office/drawing/2014/main" id="{D5901413-A0B3-010D-A9BD-C555E2585427}"/>
              </a:ext>
            </a:extLst>
          </p:cNvPr>
          <p:cNvSpPr>
            <a:spLocks noGrp="1"/>
          </p:cNvSpPr>
          <p:nvPr>
            <p:ph type="body" sz="quarter" idx="16"/>
          </p:nvPr>
        </p:nvSpPr>
        <p:spPr>
          <a:xfrm>
            <a:off x="6096594" y="5130802"/>
            <a:ext cx="3691218" cy="692092"/>
          </a:xfrm>
        </p:spPr>
        <p:txBody>
          <a:bodyPr/>
          <a:lstStyle/>
          <a:p>
            <a:r>
              <a:rPr lang="en-US"/>
              <a:t>David Domask</a:t>
            </a:r>
          </a:p>
          <a:p>
            <a:r>
              <a:rPr lang="en-US" sz="1600"/>
              <a:t>Principal Analyst: Product Management</a:t>
            </a:r>
          </a:p>
        </p:txBody>
      </p:sp>
      <p:pic>
        <p:nvPicPr>
          <p:cNvPr id="12" name="Picture Placeholder 11" descr="A person looking up to the side&#10;&#10;Description automatically generated">
            <a:extLst>
              <a:ext uri="{FF2B5EF4-FFF2-40B4-BE49-F238E27FC236}">
                <a16:creationId xmlns:a16="http://schemas.microsoft.com/office/drawing/2014/main" id="{130A4FE3-CBC6-E15E-7172-0BBA3919CD9B}"/>
              </a:ext>
            </a:extLst>
          </p:cNvPr>
          <p:cNvPicPr>
            <a:picLocks noGrp="1" noChangeAspect="1"/>
          </p:cNvPicPr>
          <p:nvPr>
            <p:ph type="pic" sz="quarter" idx="17"/>
          </p:nvPr>
        </p:nvPicPr>
        <p:blipFill>
          <a:blip r:embed="rId4"/>
          <a:srcRect t="15391" b="15391"/>
          <a:stretch>
            <a:fillRect/>
          </a:stretch>
        </p:blipFill>
        <p:spPr/>
      </p:pic>
      <p:pic>
        <p:nvPicPr>
          <p:cNvPr id="9" name="Picture 2">
            <a:extLst>
              <a:ext uri="{FF2B5EF4-FFF2-40B4-BE49-F238E27FC236}">
                <a16:creationId xmlns:a16="http://schemas.microsoft.com/office/drawing/2014/main" id="{73910B98-30A8-7623-A8D5-CBE0924CCC7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87812" y="916446"/>
            <a:ext cx="2034758" cy="4794628"/>
          </a:xfrm>
          <a:prstGeom prst="roundRect">
            <a:avLst>
              <a:gd name="adj" fmla="val 13199"/>
            </a:avLst>
          </a:prstGeom>
          <a:noFill/>
        </p:spPr>
        <p:style>
          <a:lnRef idx="1">
            <a:schemeClr val="accent6"/>
          </a:lnRef>
          <a:fillRef idx="3">
            <a:schemeClr val="accent6"/>
          </a:fillRef>
          <a:effectRef idx="2">
            <a:schemeClr val="accent6"/>
          </a:effectRef>
          <a:fontRef idx="minor">
            <a:schemeClr val="lt1"/>
          </a:fontRef>
        </p:style>
      </p:pic>
    </p:spTree>
    <p:extLst>
      <p:ext uri="{BB962C8B-B14F-4D97-AF65-F5344CB8AC3E}">
        <p14:creationId xmlns:p14="http://schemas.microsoft.com/office/powerpoint/2010/main" val="12452685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EEF5E13F-643E-BD63-70D6-F353973C638C}"/>
              </a:ext>
            </a:extLst>
          </p:cNvPr>
          <p:cNvSpPr>
            <a:spLocks noGrp="1"/>
          </p:cNvSpPr>
          <p:nvPr>
            <p:ph type="ftr" sz="quarter" idx="3"/>
          </p:nvPr>
        </p:nvSpPr>
        <p:spPr/>
        <p:txBody>
          <a:bodyPr/>
          <a:lstStyle/>
          <a:p>
            <a:endParaRPr lang="en-US"/>
          </a:p>
        </p:txBody>
      </p:sp>
      <p:sp>
        <p:nvSpPr>
          <p:cNvPr id="9" name="Title 8">
            <a:extLst>
              <a:ext uri="{FF2B5EF4-FFF2-40B4-BE49-F238E27FC236}">
                <a16:creationId xmlns:a16="http://schemas.microsoft.com/office/drawing/2014/main" id="{6EAF6695-9176-1948-A4F9-72655C5407C3}"/>
              </a:ext>
            </a:extLst>
          </p:cNvPr>
          <p:cNvSpPr>
            <a:spLocks noGrp="1"/>
          </p:cNvSpPr>
          <p:nvPr>
            <p:ph type="title"/>
          </p:nvPr>
        </p:nvSpPr>
        <p:spPr/>
        <p:txBody>
          <a:bodyPr/>
          <a:lstStyle/>
          <a:p>
            <a:r>
              <a:rPr lang="en-US"/>
              <a:t>Validating Parameters: Sanely</a:t>
            </a:r>
            <a:endParaRPr lang="ru-RU"/>
          </a:p>
        </p:txBody>
      </p:sp>
      <p:sp>
        <p:nvSpPr>
          <p:cNvPr id="10" name="Subtitle 9">
            <a:extLst>
              <a:ext uri="{FF2B5EF4-FFF2-40B4-BE49-F238E27FC236}">
                <a16:creationId xmlns:a16="http://schemas.microsoft.com/office/drawing/2014/main" id="{84C84836-99D4-13B8-5778-39D2EDF40543}"/>
              </a:ext>
            </a:extLst>
          </p:cNvPr>
          <p:cNvSpPr>
            <a:spLocks noGrp="1"/>
          </p:cNvSpPr>
          <p:nvPr>
            <p:ph type="subTitle" idx="1"/>
          </p:nvPr>
        </p:nvSpPr>
        <p:spPr/>
        <p:txBody>
          <a:bodyPr/>
          <a:lstStyle/>
          <a:p>
            <a:r>
              <a:rPr lang="en-US"/>
              <a:t>Telling users how to use the script</a:t>
            </a:r>
            <a:endParaRPr lang="ru-RU"/>
          </a:p>
        </p:txBody>
      </p:sp>
      <p:sp>
        <p:nvSpPr>
          <p:cNvPr id="11" name="Content Placeholder 10">
            <a:extLst>
              <a:ext uri="{FF2B5EF4-FFF2-40B4-BE49-F238E27FC236}">
                <a16:creationId xmlns:a16="http://schemas.microsoft.com/office/drawing/2014/main" id="{E9A9653E-D9BE-9470-2592-F3163E491C46}"/>
              </a:ext>
            </a:extLst>
          </p:cNvPr>
          <p:cNvSpPr>
            <a:spLocks noGrp="1"/>
          </p:cNvSpPr>
          <p:nvPr>
            <p:ph sz="quarter" idx="10"/>
          </p:nvPr>
        </p:nvSpPr>
        <p:spPr>
          <a:xfrm>
            <a:off x="4257532" y="969228"/>
            <a:ext cx="7554604" cy="3193339"/>
          </a:xfrm>
        </p:spPr>
        <p:txBody>
          <a:bodyPr/>
          <a:lstStyle/>
          <a:p>
            <a:pPr>
              <a:spcBef>
                <a:spcPts val="0"/>
              </a:spcBef>
              <a:spcAft>
                <a:spcPts val="0"/>
              </a:spcAft>
            </a:pPr>
            <a:r>
              <a:rPr lang="en-US"/>
              <a:t>If($</a:t>
            </a:r>
            <a:r>
              <a:rPr lang="en-US" err="1"/>
              <a:t>PSBoundParameters.Values.Count</a:t>
            </a:r>
            <a:r>
              <a:rPr lang="en-US"/>
              <a:t> -eq 0 -and $</a:t>
            </a:r>
            <a:r>
              <a:rPr lang="en-US" err="1"/>
              <a:t>args.count</a:t>
            </a:r>
            <a:r>
              <a:rPr lang="en-US"/>
              <a:t> -eq 0) {</a:t>
            </a:r>
          </a:p>
          <a:p>
            <a:pPr>
              <a:spcBef>
                <a:spcPts val="0"/>
              </a:spcBef>
              <a:spcAft>
                <a:spcPts val="0"/>
              </a:spcAft>
            </a:pPr>
            <a:r>
              <a:rPr lang="en-US"/>
              <a:t>    Get-Help $</a:t>
            </a:r>
            <a:r>
              <a:rPr lang="en-US" err="1"/>
              <a:t>MyInvocation.MyCommand.Definition</a:t>
            </a:r>
            <a:r>
              <a:rPr lang="en-US"/>
              <a:t> -Examples</a:t>
            </a:r>
          </a:p>
          <a:p>
            <a:pPr>
              <a:spcBef>
                <a:spcPts val="0"/>
              </a:spcBef>
              <a:spcAft>
                <a:spcPts val="0"/>
              </a:spcAft>
            </a:pPr>
            <a:r>
              <a:rPr lang="en-US"/>
              <a:t>    Break	</a:t>
            </a:r>
          </a:p>
          <a:p>
            <a:pPr>
              <a:spcBef>
                <a:spcPts val="0"/>
              </a:spcBef>
              <a:spcAft>
                <a:spcPts val="0"/>
              </a:spcAft>
            </a:pPr>
            <a:r>
              <a:rPr lang="en-US"/>
              <a:t>}elseif(-not($</a:t>
            </a:r>
            <a:r>
              <a:rPr lang="en-US" err="1"/>
              <a:t>TimeScope</a:t>
            </a:r>
            <a:r>
              <a:rPr lang="en-US"/>
              <a:t>) -And (-not($</a:t>
            </a:r>
            <a:r>
              <a:rPr lang="en-US" err="1"/>
              <a:t>StartTime</a:t>
            </a:r>
            <a:r>
              <a:rPr lang="en-US"/>
              <a:t>) -or -not($</a:t>
            </a:r>
            <a:r>
              <a:rPr lang="en-US" err="1"/>
              <a:t>EndTime</a:t>
            </a:r>
            <a:r>
              <a:rPr lang="en-US"/>
              <a:t>))){</a:t>
            </a:r>
          </a:p>
          <a:p>
            <a:pPr>
              <a:spcBef>
                <a:spcPts val="0"/>
              </a:spcBef>
              <a:spcAft>
                <a:spcPts val="0"/>
              </a:spcAft>
            </a:pPr>
            <a:r>
              <a:rPr lang="en-US"/>
              <a:t>	$</a:t>
            </a:r>
            <a:r>
              <a:rPr lang="en-US" err="1"/>
              <a:t>NoRangeError</a:t>
            </a:r>
            <a:r>
              <a:rPr lang="en-US"/>
              <a:t> | word-wrap | Write-Host -</a:t>
            </a:r>
            <a:r>
              <a:rPr lang="en-US" err="1"/>
              <a:t>ForegroundColor</a:t>
            </a:r>
            <a:r>
              <a:rPr lang="en-US"/>
              <a:t> Yellow</a:t>
            </a:r>
          </a:p>
          <a:p>
            <a:pPr>
              <a:spcBef>
                <a:spcPts val="0"/>
              </a:spcBef>
              <a:spcAft>
                <a:spcPts val="0"/>
              </a:spcAft>
            </a:pPr>
            <a:r>
              <a:rPr lang="en-US"/>
              <a:t>	Break</a:t>
            </a:r>
          </a:p>
          <a:p>
            <a:pPr>
              <a:spcBef>
                <a:spcPts val="0"/>
              </a:spcBef>
              <a:spcAft>
                <a:spcPts val="0"/>
              </a:spcAft>
            </a:pPr>
            <a:r>
              <a:rPr lang="en-US"/>
              <a:t>}</a:t>
            </a:r>
            <a:endParaRPr lang="ru-RU"/>
          </a:p>
        </p:txBody>
      </p:sp>
      <p:sp>
        <p:nvSpPr>
          <p:cNvPr id="12" name="TextBox 11">
            <a:extLst>
              <a:ext uri="{FF2B5EF4-FFF2-40B4-BE49-F238E27FC236}">
                <a16:creationId xmlns:a16="http://schemas.microsoft.com/office/drawing/2014/main" id="{04DAE872-6B31-1EA3-1CBC-644521EC0CC2}"/>
              </a:ext>
            </a:extLst>
          </p:cNvPr>
          <p:cNvSpPr txBox="1"/>
          <p:nvPr/>
        </p:nvSpPr>
        <p:spPr>
          <a:xfrm>
            <a:off x="4257532" y="4162567"/>
            <a:ext cx="7934468" cy="1200329"/>
          </a:xfrm>
          <a:prstGeom prst="rect">
            <a:avLst/>
          </a:prstGeom>
          <a:noFill/>
        </p:spPr>
        <p:txBody>
          <a:bodyPr wrap="square" rtlCol="0">
            <a:spAutoFit/>
          </a:bodyPr>
          <a:lstStyle/>
          <a:p>
            <a:r>
              <a:rPr lang="en-US">
                <a:hlinkClick r:id="rId3"/>
              </a:rPr>
              <a:t>$</a:t>
            </a:r>
            <a:r>
              <a:rPr lang="en-US" err="1">
                <a:hlinkClick r:id="rId3"/>
              </a:rPr>
              <a:t>PSBoundParameters</a:t>
            </a:r>
            <a:r>
              <a:rPr lang="en-US"/>
              <a:t> – Variable that holds parameters passed</a:t>
            </a:r>
          </a:p>
          <a:p>
            <a:r>
              <a:rPr lang="en-US">
                <a:hlinkClick r:id="rId4"/>
              </a:rPr>
              <a:t>$</a:t>
            </a:r>
            <a:r>
              <a:rPr lang="en-US" err="1">
                <a:hlinkClick r:id="rId4"/>
              </a:rPr>
              <a:t>args</a:t>
            </a:r>
            <a:r>
              <a:rPr lang="en-US"/>
              <a:t> – Variable that holds undeclared parameters</a:t>
            </a:r>
          </a:p>
          <a:p>
            <a:r>
              <a:rPr lang="en-US">
                <a:hlinkClick r:id="rId5"/>
              </a:rPr>
              <a:t>$</a:t>
            </a:r>
            <a:r>
              <a:rPr lang="en-US" err="1">
                <a:hlinkClick r:id="rId5"/>
              </a:rPr>
              <a:t>MyInvocation</a:t>
            </a:r>
            <a:r>
              <a:rPr lang="en-US"/>
              <a:t> - Variable that holds information on the function/script being run</a:t>
            </a:r>
            <a:endParaRPr lang="ru-RU"/>
          </a:p>
        </p:txBody>
      </p:sp>
    </p:spTree>
    <p:extLst>
      <p:ext uri="{BB962C8B-B14F-4D97-AF65-F5344CB8AC3E}">
        <p14:creationId xmlns:p14="http://schemas.microsoft.com/office/powerpoint/2010/main" val="24167091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8E7C583-620A-FD18-6F73-7B4CF745500D}"/>
              </a:ext>
            </a:extLst>
          </p:cNvPr>
          <p:cNvSpPr>
            <a:spLocks noGrp="1"/>
          </p:cNvSpPr>
          <p:nvPr>
            <p:ph type="title"/>
          </p:nvPr>
        </p:nvSpPr>
        <p:spPr/>
        <p:txBody>
          <a:bodyPr/>
          <a:lstStyle/>
          <a:p>
            <a:r>
              <a:rPr lang="en-US"/>
              <a:t>Comment Based Help</a:t>
            </a:r>
            <a:endParaRPr lang="ru-RU"/>
          </a:p>
        </p:txBody>
      </p:sp>
      <p:sp>
        <p:nvSpPr>
          <p:cNvPr id="7" name="Subtitle 6">
            <a:extLst>
              <a:ext uri="{FF2B5EF4-FFF2-40B4-BE49-F238E27FC236}">
                <a16:creationId xmlns:a16="http://schemas.microsoft.com/office/drawing/2014/main" id="{1DEEEA9A-7F75-6A6D-4056-EC5B3ED3638D}"/>
              </a:ext>
            </a:extLst>
          </p:cNvPr>
          <p:cNvSpPr>
            <a:spLocks noGrp="1"/>
          </p:cNvSpPr>
          <p:nvPr>
            <p:ph type="subTitle" idx="1"/>
          </p:nvPr>
        </p:nvSpPr>
        <p:spPr>
          <a:xfrm>
            <a:off x="493714" y="1371600"/>
            <a:ext cx="5113896" cy="1398896"/>
          </a:xfrm>
        </p:spPr>
        <p:txBody>
          <a:bodyPr/>
          <a:lstStyle/>
          <a:p>
            <a:r>
              <a:rPr lang="en-US" sz="1800"/>
              <a:t>https://learn.microsoft.com/en-us/powershell/scripting/developer/help/examples-of-comment-based-help?view=powershell-7.4</a:t>
            </a:r>
            <a:endParaRPr lang="ru-RU" sz="1800"/>
          </a:p>
        </p:txBody>
      </p:sp>
      <p:sp>
        <p:nvSpPr>
          <p:cNvPr id="11" name="Text Placeholder 10">
            <a:extLst>
              <a:ext uri="{FF2B5EF4-FFF2-40B4-BE49-F238E27FC236}">
                <a16:creationId xmlns:a16="http://schemas.microsoft.com/office/drawing/2014/main" id="{6AEE861C-8BF6-A7EC-7F4D-35037ECE0E0D}"/>
              </a:ext>
            </a:extLst>
          </p:cNvPr>
          <p:cNvSpPr>
            <a:spLocks noGrp="1"/>
          </p:cNvSpPr>
          <p:nvPr>
            <p:ph type="body" sz="quarter" idx="16"/>
          </p:nvPr>
        </p:nvSpPr>
        <p:spPr/>
        <p:txBody>
          <a:bodyPr/>
          <a:lstStyle/>
          <a:p>
            <a:r>
              <a:rPr lang="en-US"/>
              <a:t>Tell your users how to use the script</a:t>
            </a:r>
            <a:endParaRPr lang="ru-RU"/>
          </a:p>
        </p:txBody>
      </p:sp>
      <p:sp>
        <p:nvSpPr>
          <p:cNvPr id="2" name="Footer Placeholder 1">
            <a:extLst>
              <a:ext uri="{FF2B5EF4-FFF2-40B4-BE49-F238E27FC236}">
                <a16:creationId xmlns:a16="http://schemas.microsoft.com/office/drawing/2014/main" id="{8D4CB22D-C256-EC9E-445B-7C0FD26F247A}"/>
              </a:ext>
            </a:extLst>
          </p:cNvPr>
          <p:cNvSpPr>
            <a:spLocks noGrp="1"/>
          </p:cNvSpPr>
          <p:nvPr>
            <p:ph type="ftr" sz="quarter" idx="3"/>
          </p:nvPr>
        </p:nvSpPr>
        <p:spPr/>
        <p:txBody>
          <a:bodyPr/>
          <a:lstStyle/>
          <a:p>
            <a:endParaRPr lang="en-US"/>
          </a:p>
        </p:txBody>
      </p:sp>
      <p:pic>
        <p:nvPicPr>
          <p:cNvPr id="17" name="Content Placeholder 16" descr="A screenshot of a comment-based help in Powershell. The comment opens with &lt; # and closes with # &gt;. Searching &quot;Powershell Examples of Comment based help&quot; online will return the full page">
            <a:extLst>
              <a:ext uri="{FF2B5EF4-FFF2-40B4-BE49-F238E27FC236}">
                <a16:creationId xmlns:a16="http://schemas.microsoft.com/office/drawing/2014/main" id="{532F691C-4C6F-E5B6-4604-1ED57B389B73}"/>
              </a:ext>
            </a:extLst>
          </p:cNvPr>
          <p:cNvPicPr>
            <a:picLocks noGrp="1" noChangeAspect="1"/>
          </p:cNvPicPr>
          <p:nvPr>
            <p:ph sz="quarter" idx="11"/>
          </p:nvPr>
        </p:nvPicPr>
        <p:blipFill>
          <a:blip r:embed="rId3"/>
          <a:stretch>
            <a:fillRect/>
          </a:stretch>
        </p:blipFill>
        <p:spPr>
          <a:xfrm>
            <a:off x="1271057" y="2878458"/>
            <a:ext cx="3058441" cy="3159077"/>
          </a:xfrm>
        </p:spPr>
      </p:pic>
      <p:sp>
        <p:nvSpPr>
          <p:cNvPr id="12" name="Subtitle 6">
            <a:extLst>
              <a:ext uri="{FF2B5EF4-FFF2-40B4-BE49-F238E27FC236}">
                <a16:creationId xmlns:a16="http://schemas.microsoft.com/office/drawing/2014/main" id="{ECB68119-D807-2036-5436-A5F02A3D94FB}"/>
              </a:ext>
            </a:extLst>
          </p:cNvPr>
          <p:cNvSpPr txBox="1">
            <a:spLocks/>
          </p:cNvSpPr>
          <p:nvPr/>
        </p:nvSpPr>
        <p:spPr>
          <a:xfrm>
            <a:off x="493289" y="2257215"/>
            <a:ext cx="4802041" cy="621243"/>
          </a:xfrm>
          <a:prstGeom prst="rect">
            <a:avLst/>
          </a:prstGeom>
        </p:spPr>
        <p:txBody>
          <a:bodyPr vert="horz" lIns="0" tIns="0" rIns="0" bIns="0" rtlCol="0" anchor="t">
            <a:noAutofit/>
          </a:bodyPr>
          <a:lstStyle>
            <a:lvl1pPr marL="0" indent="0" algn="l" defTabSz="914400" rtl="0" eaLnBrk="1" latinLnBrk="0" hangingPunct="1">
              <a:lnSpc>
                <a:spcPct val="96000"/>
              </a:lnSpc>
              <a:spcBef>
                <a:spcPts val="1200"/>
              </a:spcBef>
              <a:spcAft>
                <a:spcPts val="600"/>
              </a:spcAft>
              <a:buClrTx/>
              <a:buFont typeface="Calibri" panose="020F0502020204030204" pitchFamily="34" charset="0"/>
              <a:buNone/>
              <a:tabLst/>
              <a:defRPr sz="2100" b="0" i="0" kern="1200">
                <a:solidFill>
                  <a:schemeClr val="bg1"/>
                </a:solidFill>
                <a:latin typeface="ES Build "/>
                <a:ea typeface="ES Build Neutral" pitchFamily="2" charset="77"/>
                <a:cs typeface="+mn-cs"/>
              </a:defRPr>
            </a:lvl1pPr>
            <a:lvl2pPr marL="457200" indent="0" algn="ctr" defTabSz="914400" rtl="0" eaLnBrk="1" latinLnBrk="0" hangingPunct="1">
              <a:lnSpc>
                <a:spcPct val="96000"/>
              </a:lnSpc>
              <a:spcBef>
                <a:spcPts val="300"/>
              </a:spcBef>
              <a:spcAft>
                <a:spcPts val="150"/>
              </a:spcAft>
              <a:buClrTx/>
              <a:buFont typeface="Arial" panose="020B0604020202020204" pitchFamily="34" charset="0"/>
              <a:buNone/>
              <a:tabLst/>
              <a:defRPr sz="2000" b="0" i="0" kern="1200">
                <a:solidFill>
                  <a:schemeClr val="tx1"/>
                </a:solidFill>
                <a:latin typeface="ES Build Neutral" pitchFamily="2" charset="77"/>
                <a:ea typeface="ES Build Neutral" pitchFamily="2" charset="77"/>
                <a:cs typeface="+mn-cs"/>
              </a:defRPr>
            </a:lvl2pPr>
            <a:lvl3pPr marL="914400" indent="0" algn="ctr" defTabSz="914400" rtl="0" eaLnBrk="1" latinLnBrk="0" hangingPunct="1">
              <a:lnSpc>
                <a:spcPct val="96000"/>
              </a:lnSpc>
              <a:spcBef>
                <a:spcPts val="300"/>
              </a:spcBef>
              <a:spcAft>
                <a:spcPts val="150"/>
              </a:spcAft>
              <a:buClrTx/>
              <a:buFont typeface="Arial" panose="020B0604020202020204" pitchFamily="34" charset="0"/>
              <a:buNone/>
              <a:tabLst/>
              <a:defRPr sz="1800" b="0" i="0" kern="1200">
                <a:solidFill>
                  <a:schemeClr val="tx1"/>
                </a:solidFill>
                <a:latin typeface="ES Build Neutral" pitchFamily="2" charset="77"/>
                <a:ea typeface="ES Build Neutral" pitchFamily="2" charset="77"/>
                <a:cs typeface="+mn-cs"/>
              </a:defRPr>
            </a:lvl3pPr>
            <a:lvl4pPr marL="1371600" indent="0" algn="ctr" defTabSz="914400" rtl="0" eaLnBrk="1" latinLnBrk="0" hangingPunct="1">
              <a:lnSpc>
                <a:spcPct val="96000"/>
              </a:lnSpc>
              <a:spcBef>
                <a:spcPts val="300"/>
              </a:spcBef>
              <a:spcAft>
                <a:spcPts val="150"/>
              </a:spcAft>
              <a:buClrTx/>
              <a:buFont typeface="Arial" panose="020B0604020202020204" pitchFamily="34" charset="0"/>
              <a:buNone/>
              <a:tabLst/>
              <a:defRPr sz="1600" b="0" i="0" kern="1200">
                <a:solidFill>
                  <a:schemeClr val="tx1"/>
                </a:solidFill>
                <a:latin typeface="ES Build Neutral" pitchFamily="2" charset="77"/>
                <a:ea typeface="ES Build Neutral" pitchFamily="2" charset="77"/>
                <a:cs typeface="+mn-cs"/>
              </a:defRPr>
            </a:lvl4pPr>
            <a:lvl5pPr marL="1828800" indent="0" algn="ctr" defTabSz="914400" rtl="0" eaLnBrk="1" latinLnBrk="0" hangingPunct="1">
              <a:lnSpc>
                <a:spcPct val="96000"/>
              </a:lnSpc>
              <a:spcBef>
                <a:spcPts val="300"/>
              </a:spcBef>
              <a:spcAft>
                <a:spcPts val="150"/>
              </a:spcAft>
              <a:buFont typeface="Arial" panose="020B0604020202020204" pitchFamily="34" charset="0"/>
              <a:buNone/>
              <a:tabLst/>
              <a:defRPr sz="1600" b="0" i="0" kern="1200">
                <a:solidFill>
                  <a:schemeClr val="tx1"/>
                </a:solidFill>
                <a:latin typeface="ES Build Neutral" pitchFamily="2" charset="77"/>
                <a:ea typeface="ES Build Neutral" pitchFamily="2" charset="77"/>
                <a:cs typeface="+mn-cs"/>
              </a:defRPr>
            </a:lvl5pPr>
            <a:lvl6pPr marL="2286000" indent="0" algn="ctr" defTabSz="914400" rtl="0" eaLnBrk="1" latinLnBrk="0" hangingPunct="1">
              <a:lnSpc>
                <a:spcPct val="96000"/>
              </a:lnSpc>
              <a:spcBef>
                <a:spcPts val="600"/>
              </a:spcBef>
              <a:spcAft>
                <a:spcPts val="300"/>
              </a:spcAft>
              <a:buFont typeface="System Font Regular"/>
              <a:buNone/>
              <a:tabLst/>
              <a:defRPr sz="1600" b="0" i="0" kern="1200">
                <a:solidFill>
                  <a:schemeClr val="tx1"/>
                </a:solidFill>
                <a:latin typeface="ES Build Neutral" pitchFamily="2" charset="77"/>
                <a:ea typeface="ES Build Neutral" pitchFamily="2" charset="77"/>
                <a:cs typeface="+mn-cs"/>
              </a:defRPr>
            </a:lvl6pPr>
            <a:lvl7pPr marL="2743200" indent="0" algn="ctr" defTabSz="914400" rtl="0" eaLnBrk="1" latinLnBrk="0" hangingPunct="1">
              <a:lnSpc>
                <a:spcPct val="96000"/>
              </a:lnSpc>
              <a:spcBef>
                <a:spcPts val="600"/>
              </a:spcBef>
              <a:spcAft>
                <a:spcPts val="300"/>
              </a:spcAft>
              <a:buFont typeface="System Font Regular"/>
              <a:buNone/>
              <a:tabLst/>
              <a:defRPr sz="1600" b="0" i="0" kern="1200">
                <a:solidFill>
                  <a:schemeClr val="tx1"/>
                </a:solidFill>
                <a:latin typeface="ES Build Neutral" pitchFamily="2" charset="77"/>
                <a:ea typeface="ES Build Neutral" pitchFamily="2" charset="77"/>
                <a:cs typeface="+mn-cs"/>
              </a:defRPr>
            </a:lvl7pPr>
            <a:lvl8pPr marL="3200400" indent="0" algn="ctr" defTabSz="914400" rtl="0" eaLnBrk="1" latinLnBrk="0" hangingPunct="1">
              <a:lnSpc>
                <a:spcPct val="84000"/>
              </a:lnSpc>
              <a:spcBef>
                <a:spcPts val="300"/>
              </a:spcBef>
              <a:buFont typeface="System Font Regular"/>
              <a:buNone/>
              <a:tabLst/>
              <a:defRPr sz="1600" b="0" i="0" kern="1200" spc="-150" baseline="0">
                <a:solidFill>
                  <a:srgbClr val="8E71F4"/>
                </a:solidFill>
                <a:latin typeface="ES Build Neutral" pitchFamily="2" charset="77"/>
                <a:ea typeface="ES Build Neutral" pitchFamily="2" charset="77"/>
                <a:cs typeface="+mn-cs"/>
              </a:defRPr>
            </a:lvl8pPr>
            <a:lvl9pPr marL="3657600" indent="0" algn="ctr" defTabSz="914400" rtl="0" eaLnBrk="1" latinLnBrk="0" hangingPunct="1">
              <a:lnSpc>
                <a:spcPct val="84000"/>
              </a:lnSpc>
              <a:spcBef>
                <a:spcPts val="0"/>
              </a:spcBef>
              <a:buFont typeface="System Font Regular"/>
              <a:buNone/>
              <a:tabLst/>
              <a:defRPr sz="1600" b="0" i="0" kern="1200" spc="-300">
                <a:solidFill>
                  <a:srgbClr val="8E71F4"/>
                </a:solidFill>
                <a:latin typeface="ES Build Neutral" pitchFamily="2" charset="77"/>
                <a:ea typeface="ES Build Neutral" pitchFamily="2" charset="77"/>
                <a:cs typeface="+mn-cs"/>
              </a:defRPr>
            </a:lvl9pPr>
          </a:lstStyle>
          <a:p>
            <a:r>
              <a:rPr lang="en-US" sz="1800"/>
              <a:t>Search </a:t>
            </a:r>
            <a:r>
              <a:rPr lang="en-US" sz="1800" b="1"/>
              <a:t>“</a:t>
            </a:r>
            <a:r>
              <a:rPr lang="en-US" sz="1800" b="1" err="1">
                <a:solidFill>
                  <a:srgbClr val="ED2B3D"/>
                </a:solidFill>
              </a:rPr>
              <a:t>Powershell</a:t>
            </a:r>
            <a:r>
              <a:rPr lang="en-US" sz="1800" b="1">
                <a:solidFill>
                  <a:srgbClr val="ED2B3D"/>
                </a:solidFill>
              </a:rPr>
              <a:t> Examples of Comment based help</a:t>
            </a:r>
            <a:r>
              <a:rPr lang="en-US" sz="1800" b="1"/>
              <a:t>”</a:t>
            </a:r>
            <a:endParaRPr lang="ru-RU" sz="1800"/>
          </a:p>
        </p:txBody>
      </p:sp>
      <p:pic>
        <p:nvPicPr>
          <p:cNvPr id="19" name="Picture 18" descr="A screenshot of a Powershell session running the command Get Help on the script vbr backup session report dot ps1, demonstrating the comment based help system">
            <a:extLst>
              <a:ext uri="{FF2B5EF4-FFF2-40B4-BE49-F238E27FC236}">
                <a16:creationId xmlns:a16="http://schemas.microsoft.com/office/drawing/2014/main" id="{1F73ABB9-A67D-C7E6-727A-8331785DB069}"/>
              </a:ext>
            </a:extLst>
          </p:cNvPr>
          <p:cNvPicPr>
            <a:picLocks noChangeAspect="1"/>
          </p:cNvPicPr>
          <p:nvPr/>
        </p:nvPicPr>
        <p:blipFill>
          <a:blip r:embed="rId4"/>
          <a:stretch>
            <a:fillRect/>
          </a:stretch>
        </p:blipFill>
        <p:spPr>
          <a:xfrm>
            <a:off x="6523378" y="1663230"/>
            <a:ext cx="5493475" cy="4537486"/>
          </a:xfrm>
          <a:prstGeom prst="rect">
            <a:avLst/>
          </a:prstGeom>
        </p:spPr>
      </p:pic>
    </p:spTree>
    <p:extLst>
      <p:ext uri="{BB962C8B-B14F-4D97-AF65-F5344CB8AC3E}">
        <p14:creationId xmlns:p14="http://schemas.microsoft.com/office/powerpoint/2010/main" val="40820896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2D2E31B-5768-3B48-1C7F-955B2295B4AB}"/>
              </a:ext>
            </a:extLst>
          </p:cNvPr>
          <p:cNvSpPr>
            <a:spLocks noGrp="1"/>
          </p:cNvSpPr>
          <p:nvPr>
            <p:ph type="ftr" sz="quarter" idx="3"/>
          </p:nvPr>
        </p:nvSpPr>
        <p:spPr/>
        <p:txBody>
          <a:bodyPr/>
          <a:lstStyle/>
          <a:p>
            <a:endParaRPr lang="en-US"/>
          </a:p>
        </p:txBody>
      </p:sp>
      <p:sp>
        <p:nvSpPr>
          <p:cNvPr id="3" name="Title 2">
            <a:extLst>
              <a:ext uri="{FF2B5EF4-FFF2-40B4-BE49-F238E27FC236}">
                <a16:creationId xmlns:a16="http://schemas.microsoft.com/office/drawing/2014/main" id="{EBD4FF3B-1289-7E10-D597-C7459D79C22E}"/>
              </a:ext>
            </a:extLst>
          </p:cNvPr>
          <p:cNvSpPr>
            <a:spLocks noGrp="1"/>
          </p:cNvSpPr>
          <p:nvPr>
            <p:ph type="title"/>
          </p:nvPr>
        </p:nvSpPr>
        <p:spPr>
          <a:xfrm>
            <a:off x="489551" y="2030906"/>
            <a:ext cx="2859087" cy="2134979"/>
          </a:xfrm>
        </p:spPr>
        <p:txBody>
          <a:bodyPr/>
          <a:lstStyle/>
          <a:p>
            <a:r>
              <a:rPr lang="en-US"/>
              <a:t>Strings Are the Devil</a:t>
            </a:r>
            <a:endParaRPr lang="ru-RU"/>
          </a:p>
        </p:txBody>
      </p:sp>
      <p:sp>
        <p:nvSpPr>
          <p:cNvPr id="4" name="Subtitle 3">
            <a:extLst>
              <a:ext uri="{FF2B5EF4-FFF2-40B4-BE49-F238E27FC236}">
                <a16:creationId xmlns:a16="http://schemas.microsoft.com/office/drawing/2014/main" id="{6EC5DE17-E64A-EF7D-77C1-B2407D45EFDD}"/>
              </a:ext>
            </a:extLst>
          </p:cNvPr>
          <p:cNvSpPr>
            <a:spLocks noGrp="1"/>
          </p:cNvSpPr>
          <p:nvPr>
            <p:ph type="subTitle" idx="1"/>
          </p:nvPr>
        </p:nvSpPr>
        <p:spPr/>
        <p:txBody>
          <a:bodyPr/>
          <a:lstStyle/>
          <a:p>
            <a:r>
              <a:rPr lang="en-US"/>
              <a:t>Parse, don’t validate</a:t>
            </a:r>
            <a:endParaRPr lang="ru-RU"/>
          </a:p>
        </p:txBody>
      </p:sp>
      <p:pic>
        <p:nvPicPr>
          <p:cNvPr id="20" name="Content Placeholder 19" descr="Screenshot of a powershell script with a very long path as an input failing with an error. New-Item cmdlet returns &quot;Could not find a parth of the path 'verylongpath'&quot;">
            <a:extLst>
              <a:ext uri="{FF2B5EF4-FFF2-40B4-BE49-F238E27FC236}">
                <a16:creationId xmlns:a16="http://schemas.microsoft.com/office/drawing/2014/main" id="{F49D5ED2-6A9B-54B9-C162-1BC0438D5C89}"/>
              </a:ext>
            </a:extLst>
          </p:cNvPr>
          <p:cNvPicPr>
            <a:picLocks noGrp="1" noChangeAspect="1"/>
          </p:cNvPicPr>
          <p:nvPr>
            <p:ph sz="quarter" idx="10"/>
          </p:nvPr>
        </p:nvPicPr>
        <p:blipFill>
          <a:blip r:embed="rId3"/>
          <a:stretch>
            <a:fillRect/>
          </a:stretch>
        </p:blipFill>
        <p:spPr>
          <a:xfrm>
            <a:off x="3777953" y="4106910"/>
            <a:ext cx="8324089" cy="1456898"/>
          </a:xfrm>
          <a:prstGeom prst="rect">
            <a:avLst/>
          </a:prstGeom>
        </p:spPr>
      </p:pic>
      <p:sp>
        <p:nvSpPr>
          <p:cNvPr id="6" name="Content Placeholder 6">
            <a:extLst>
              <a:ext uri="{FF2B5EF4-FFF2-40B4-BE49-F238E27FC236}">
                <a16:creationId xmlns:a16="http://schemas.microsoft.com/office/drawing/2014/main" id="{420492A5-4B81-F95D-4692-4A61EB0DF96D}"/>
              </a:ext>
            </a:extLst>
          </p:cNvPr>
          <p:cNvSpPr txBox="1">
            <a:spLocks/>
          </p:cNvSpPr>
          <p:nvPr/>
        </p:nvSpPr>
        <p:spPr>
          <a:xfrm>
            <a:off x="4148351" y="629180"/>
            <a:ext cx="7391400" cy="4690067"/>
          </a:xfrm>
          <a:prstGeom prst="rect">
            <a:avLst/>
          </a:prstGeom>
        </p:spPr>
        <p:txBody>
          <a:bodyPr vert="horz" lIns="0" tIns="0" rIns="0" bIns="0" rtlCol="0">
            <a:noAutofit/>
          </a:bodyPr>
          <a:lstStyle>
            <a:lvl1pPr marL="0" indent="0" algn="l" defTabSz="914400" rtl="0" eaLnBrk="1" latinLnBrk="0" hangingPunct="1">
              <a:lnSpc>
                <a:spcPct val="96000"/>
              </a:lnSpc>
              <a:spcBef>
                <a:spcPts val="1200"/>
              </a:spcBef>
              <a:spcAft>
                <a:spcPts val="600"/>
              </a:spcAft>
              <a:buClrTx/>
              <a:buFont typeface="Calibri" panose="020F0502020204030204" pitchFamily="34" charset="0"/>
              <a:buChar char="​"/>
              <a:tabLst/>
              <a:defRPr sz="2100" b="0" i="0" kern="1200">
                <a:solidFill>
                  <a:schemeClr val="tx1"/>
                </a:solidFill>
                <a:latin typeface="ES Build Neutral" pitchFamily="2" charset="77"/>
                <a:ea typeface="ES Build Neutral" pitchFamily="2" charset="77"/>
                <a:cs typeface="+mn-cs"/>
              </a:defRPr>
            </a:lvl1pPr>
            <a:lvl2pPr marL="173736" indent="-173736" algn="l" defTabSz="914400" rtl="0" eaLnBrk="1" latinLnBrk="0" hangingPunct="1">
              <a:lnSpc>
                <a:spcPct val="96000"/>
              </a:lnSpc>
              <a:spcBef>
                <a:spcPts val="300"/>
              </a:spcBef>
              <a:spcAft>
                <a:spcPts val="150"/>
              </a:spcAft>
              <a:buClrTx/>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2pPr>
            <a:lvl3pPr marL="342900" indent="-171450" algn="l" defTabSz="914400" rtl="0" eaLnBrk="1" latinLnBrk="0" hangingPunct="1">
              <a:lnSpc>
                <a:spcPct val="96000"/>
              </a:lnSpc>
              <a:spcBef>
                <a:spcPts val="300"/>
              </a:spcBef>
              <a:spcAft>
                <a:spcPts val="150"/>
              </a:spcAft>
              <a:buClrTx/>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3pPr>
            <a:lvl4pPr marL="576072" indent="-173736" algn="l" defTabSz="914400" rtl="0" eaLnBrk="1" latinLnBrk="0" hangingPunct="1">
              <a:lnSpc>
                <a:spcPct val="96000"/>
              </a:lnSpc>
              <a:spcBef>
                <a:spcPts val="300"/>
              </a:spcBef>
              <a:spcAft>
                <a:spcPts val="150"/>
              </a:spcAft>
              <a:buClrTx/>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4pPr>
            <a:lvl5pPr marL="731520" indent="-173736" algn="l" defTabSz="914400" rtl="0" eaLnBrk="1" latinLnBrk="0" hangingPunct="1">
              <a:lnSpc>
                <a:spcPct val="96000"/>
              </a:lnSpc>
              <a:spcBef>
                <a:spcPts val="300"/>
              </a:spcBef>
              <a:spcAft>
                <a:spcPts val="150"/>
              </a:spcAft>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5pPr>
            <a:lvl6pPr marL="11113" indent="0" algn="l" defTabSz="914400" rtl="0" eaLnBrk="1" latinLnBrk="0" hangingPunct="1">
              <a:lnSpc>
                <a:spcPct val="96000"/>
              </a:lnSpc>
              <a:spcBef>
                <a:spcPts val="600"/>
              </a:spcBef>
              <a:spcAft>
                <a:spcPts val="300"/>
              </a:spcAft>
              <a:buFont typeface="System Font Regular"/>
              <a:buChar char="​"/>
              <a:tabLst/>
              <a:defRPr sz="1600" b="0" i="0" kern="1200">
                <a:solidFill>
                  <a:schemeClr val="tx1"/>
                </a:solidFill>
                <a:latin typeface="ES Build Neutral" pitchFamily="2" charset="77"/>
                <a:ea typeface="ES Build Neutral" pitchFamily="2" charset="77"/>
                <a:cs typeface="+mn-cs"/>
              </a:defRPr>
            </a:lvl6pPr>
            <a:lvl7pPr marL="11113" indent="0" algn="l" defTabSz="914400" rtl="0" eaLnBrk="1" latinLnBrk="0" hangingPunct="1">
              <a:lnSpc>
                <a:spcPct val="96000"/>
              </a:lnSpc>
              <a:spcBef>
                <a:spcPts val="600"/>
              </a:spcBef>
              <a:spcAft>
                <a:spcPts val="300"/>
              </a:spcAft>
              <a:buFont typeface="System Font Regular"/>
              <a:buChar char="​"/>
              <a:tabLst/>
              <a:defRPr sz="1600" b="0" i="0" kern="1200">
                <a:solidFill>
                  <a:schemeClr val="tx1"/>
                </a:solidFill>
                <a:latin typeface="ES Build Neutral" pitchFamily="2" charset="77"/>
                <a:ea typeface="ES Build Neutral" pitchFamily="2" charset="77"/>
                <a:cs typeface="+mn-cs"/>
              </a:defRPr>
            </a:lvl7pPr>
            <a:lvl8pPr marL="0" indent="0" algn="l" defTabSz="914400" rtl="0" eaLnBrk="1" latinLnBrk="0" hangingPunct="1">
              <a:lnSpc>
                <a:spcPct val="84000"/>
              </a:lnSpc>
              <a:spcBef>
                <a:spcPts val="300"/>
              </a:spcBef>
              <a:buFont typeface="System Font Regular"/>
              <a:buChar char="​"/>
              <a:tabLst/>
              <a:defRPr sz="5500" b="0" i="0" kern="1200" spc="-150" baseline="0">
                <a:solidFill>
                  <a:srgbClr val="8E71F4"/>
                </a:solidFill>
                <a:latin typeface="ES Build Neutral" pitchFamily="2" charset="77"/>
                <a:ea typeface="ES Build Neutral" pitchFamily="2" charset="77"/>
                <a:cs typeface="+mn-cs"/>
              </a:defRPr>
            </a:lvl8pPr>
            <a:lvl9pPr marL="11113" indent="0" algn="l" defTabSz="914400" rtl="0" eaLnBrk="1" latinLnBrk="0" hangingPunct="1">
              <a:lnSpc>
                <a:spcPct val="84000"/>
              </a:lnSpc>
              <a:spcBef>
                <a:spcPts val="0"/>
              </a:spcBef>
              <a:buFont typeface="System Font Regular"/>
              <a:buChar char="​"/>
              <a:tabLst/>
              <a:defRPr sz="11000" b="0" i="0" kern="1200" spc="-300">
                <a:solidFill>
                  <a:srgbClr val="8E71F4"/>
                </a:solidFill>
                <a:latin typeface="ES Build Neutral" pitchFamily="2" charset="77"/>
                <a:ea typeface="ES Build Neutral" pitchFamily="2" charset="77"/>
                <a:cs typeface="+mn-cs"/>
              </a:defRPr>
            </a:lvl9pPr>
          </a:lstStyle>
          <a:p>
            <a:pPr marL="342900" indent="-342900">
              <a:buFont typeface="Wingdings" panose="05000000000000000000" pitchFamily="2" charset="2"/>
              <a:buChar char="§"/>
            </a:pPr>
            <a:r>
              <a:rPr lang="en-US"/>
              <a:t>Too easy to face-roll keyboard</a:t>
            </a:r>
          </a:p>
          <a:p>
            <a:pPr marL="342900" indent="-342900">
              <a:buFont typeface="Wingdings" panose="05000000000000000000" pitchFamily="2" charset="2"/>
              <a:buChar char="§"/>
            </a:pPr>
            <a:r>
              <a:rPr lang="en-US"/>
              <a:t>Path and name limitations require excessive checking in the script</a:t>
            </a:r>
          </a:p>
          <a:p>
            <a:pPr marL="342900" indent="-342900">
              <a:buFont typeface="Wingdings" panose="05000000000000000000" pitchFamily="2" charset="2"/>
              <a:buChar char="§"/>
            </a:pPr>
            <a:r>
              <a:rPr lang="en-US"/>
              <a:t>Validation on [String] Parameters can be a pain</a:t>
            </a:r>
          </a:p>
          <a:p>
            <a:pPr marL="342900" indent="-342900">
              <a:buFont typeface="Wingdings" panose="05000000000000000000" pitchFamily="2" charset="2"/>
              <a:buChar char="§"/>
            </a:pPr>
            <a:r>
              <a:rPr lang="en-US"/>
              <a:t>Ambiguity over what should be inputted (Is –Host parameter expecting Hostname or FQDN?)</a:t>
            </a:r>
          </a:p>
        </p:txBody>
      </p:sp>
      <p:sp>
        <p:nvSpPr>
          <p:cNvPr id="7" name="TextBox 6">
            <a:extLst>
              <a:ext uri="{FF2B5EF4-FFF2-40B4-BE49-F238E27FC236}">
                <a16:creationId xmlns:a16="http://schemas.microsoft.com/office/drawing/2014/main" id="{BF65A00E-49F3-29E7-C00D-3A71FE66D2ED}"/>
              </a:ext>
            </a:extLst>
          </p:cNvPr>
          <p:cNvSpPr txBox="1"/>
          <p:nvPr/>
        </p:nvSpPr>
        <p:spPr>
          <a:xfrm>
            <a:off x="5415161" y="3737578"/>
            <a:ext cx="5049672" cy="369332"/>
          </a:xfrm>
          <a:prstGeom prst="rect">
            <a:avLst/>
          </a:prstGeom>
          <a:noFill/>
        </p:spPr>
        <p:txBody>
          <a:bodyPr wrap="square" rtlCol="0">
            <a:spAutoFit/>
          </a:bodyPr>
          <a:lstStyle/>
          <a:p>
            <a:pPr algn="ctr"/>
            <a:r>
              <a:rPr lang="en-US">
                <a:solidFill>
                  <a:srgbClr val="FF0000"/>
                </a:solidFill>
              </a:rPr>
              <a:t>Can you guess why this script failed to run?</a:t>
            </a:r>
            <a:endParaRPr lang="ru-RU">
              <a:solidFill>
                <a:srgbClr val="FF0000"/>
              </a:solidFill>
            </a:endParaRPr>
          </a:p>
        </p:txBody>
      </p:sp>
      <p:sp>
        <p:nvSpPr>
          <p:cNvPr id="10" name="Title 4">
            <a:extLst>
              <a:ext uri="{FF2B5EF4-FFF2-40B4-BE49-F238E27FC236}">
                <a16:creationId xmlns:a16="http://schemas.microsoft.com/office/drawing/2014/main" id="{00E34C5F-6EC0-BA28-9D38-578156630558}"/>
              </a:ext>
            </a:extLst>
          </p:cNvPr>
          <p:cNvSpPr txBox="1">
            <a:spLocks/>
          </p:cNvSpPr>
          <p:nvPr/>
        </p:nvSpPr>
        <p:spPr>
          <a:xfrm>
            <a:off x="763455" y="1816708"/>
            <a:ext cx="2168888" cy="526763"/>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b="0" i="0" kern="1200">
                <a:solidFill>
                  <a:schemeClr val="bg1"/>
                </a:solidFill>
                <a:latin typeface="ES Build" pitchFamily="2" charset="77"/>
                <a:ea typeface="ES Build" pitchFamily="2" charset="77"/>
                <a:cs typeface="+mj-cs"/>
              </a:defRPr>
            </a:lvl1pPr>
          </a:lstStyle>
          <a:p>
            <a:r>
              <a:rPr lang="en-US" sz="1600" dirty="0"/>
              <a:t>Script and Presentation</a:t>
            </a:r>
            <a:endParaRPr lang="ru-RU" sz="1600" dirty="0"/>
          </a:p>
        </p:txBody>
      </p:sp>
      <p:pic>
        <p:nvPicPr>
          <p:cNvPr id="11" name="Picture 10" descr="A qr code with green squares&#10;&#10;Description automatically generated">
            <a:extLst>
              <a:ext uri="{FF2B5EF4-FFF2-40B4-BE49-F238E27FC236}">
                <a16:creationId xmlns:a16="http://schemas.microsoft.com/office/drawing/2014/main" id="{234D1E12-856D-28A8-0577-29B5677EFCD2}"/>
              </a:ext>
            </a:extLst>
          </p:cNvPr>
          <p:cNvPicPr>
            <a:picLocks noChangeAspect="1"/>
          </p:cNvPicPr>
          <p:nvPr/>
        </p:nvPicPr>
        <p:blipFill>
          <a:blip r:embed="rId4"/>
          <a:stretch>
            <a:fillRect/>
          </a:stretch>
        </p:blipFill>
        <p:spPr>
          <a:xfrm>
            <a:off x="977291" y="81547"/>
            <a:ext cx="1732818" cy="1732818"/>
          </a:xfrm>
          <a:prstGeom prst="rect">
            <a:avLst/>
          </a:prstGeom>
        </p:spPr>
      </p:pic>
    </p:spTree>
    <p:extLst>
      <p:ext uri="{BB962C8B-B14F-4D97-AF65-F5344CB8AC3E}">
        <p14:creationId xmlns:p14="http://schemas.microsoft.com/office/powerpoint/2010/main" val="35312738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7DD6C0E-859C-EA2A-6D29-2DC028B22707}"/>
              </a:ext>
            </a:extLst>
          </p:cNvPr>
          <p:cNvSpPr>
            <a:spLocks noGrp="1"/>
          </p:cNvSpPr>
          <p:nvPr>
            <p:ph type="title"/>
          </p:nvPr>
        </p:nvSpPr>
        <p:spPr/>
        <p:txBody>
          <a:bodyPr/>
          <a:lstStyle/>
          <a:p>
            <a:r>
              <a:rPr lang="en-US"/>
              <a:t>Script Sanity Checks</a:t>
            </a:r>
            <a:endParaRPr lang="ru-RU"/>
          </a:p>
        </p:txBody>
      </p:sp>
      <p:sp>
        <p:nvSpPr>
          <p:cNvPr id="6" name="Subtitle 5">
            <a:extLst>
              <a:ext uri="{FF2B5EF4-FFF2-40B4-BE49-F238E27FC236}">
                <a16:creationId xmlns:a16="http://schemas.microsoft.com/office/drawing/2014/main" id="{AC6985A7-32C0-1A24-5D1C-991E20860AB1}"/>
              </a:ext>
            </a:extLst>
          </p:cNvPr>
          <p:cNvSpPr>
            <a:spLocks noGrp="1"/>
          </p:cNvSpPr>
          <p:nvPr>
            <p:ph type="subTitle" idx="1"/>
          </p:nvPr>
        </p:nvSpPr>
        <p:spPr/>
        <p:txBody>
          <a:bodyPr/>
          <a:lstStyle/>
          <a:p>
            <a:endParaRPr lang="ru-RU"/>
          </a:p>
        </p:txBody>
      </p:sp>
      <p:sp>
        <p:nvSpPr>
          <p:cNvPr id="7" name="Content Placeholder 6">
            <a:extLst>
              <a:ext uri="{FF2B5EF4-FFF2-40B4-BE49-F238E27FC236}">
                <a16:creationId xmlns:a16="http://schemas.microsoft.com/office/drawing/2014/main" id="{6649E00D-A18F-D667-A18A-743DF554B9A9}"/>
              </a:ext>
            </a:extLst>
          </p:cNvPr>
          <p:cNvSpPr>
            <a:spLocks noGrp="1"/>
          </p:cNvSpPr>
          <p:nvPr>
            <p:ph sz="quarter" idx="10"/>
          </p:nvPr>
        </p:nvSpPr>
        <p:spPr>
          <a:xfrm>
            <a:off x="3895868" y="335753"/>
            <a:ext cx="7391400" cy="4690067"/>
          </a:xfrm>
        </p:spPr>
        <p:txBody>
          <a:bodyPr/>
          <a:lstStyle/>
          <a:p>
            <a:pPr marL="342900" indent="-342900">
              <a:buFont typeface="Wingdings" panose="05000000000000000000" pitchFamily="2" charset="2"/>
              <a:buChar char="§"/>
            </a:pPr>
            <a:endParaRPr lang="en-US"/>
          </a:p>
          <a:p>
            <a:pPr marL="342900" indent="-342900">
              <a:buFont typeface="Wingdings" panose="05000000000000000000" pitchFamily="2" charset="2"/>
              <a:buChar char="§"/>
            </a:pPr>
            <a:endParaRPr lang="ru-RU"/>
          </a:p>
        </p:txBody>
      </p:sp>
      <p:pic>
        <p:nvPicPr>
          <p:cNvPr id="8" name="Picture 7" descr="a screenshot of a powershell session. The first line runs the c d command and navigates to the built-in Downloads folder.&#10;The second line runs a script, which prints a warning in yellow that the Powershell session is run without administrative rights.">
            <a:extLst>
              <a:ext uri="{FF2B5EF4-FFF2-40B4-BE49-F238E27FC236}">
                <a16:creationId xmlns:a16="http://schemas.microsoft.com/office/drawing/2014/main" id="{2FA88810-C66B-470D-1BC1-09F23551AB46}"/>
              </a:ext>
            </a:extLst>
          </p:cNvPr>
          <p:cNvPicPr>
            <a:picLocks noChangeAspect="1"/>
          </p:cNvPicPr>
          <p:nvPr/>
        </p:nvPicPr>
        <p:blipFill>
          <a:blip r:embed="rId3"/>
          <a:stretch>
            <a:fillRect/>
          </a:stretch>
        </p:blipFill>
        <p:spPr>
          <a:xfrm>
            <a:off x="3835021" y="3724079"/>
            <a:ext cx="8257696" cy="1594454"/>
          </a:xfrm>
          <a:prstGeom prst="rect">
            <a:avLst/>
          </a:prstGeom>
        </p:spPr>
      </p:pic>
      <p:sp>
        <p:nvSpPr>
          <p:cNvPr id="10" name="Content Placeholder 6">
            <a:extLst>
              <a:ext uri="{FF2B5EF4-FFF2-40B4-BE49-F238E27FC236}">
                <a16:creationId xmlns:a16="http://schemas.microsoft.com/office/drawing/2014/main" id="{F9A3E479-A575-E8A7-ABBA-1AA2D04B297B}"/>
              </a:ext>
            </a:extLst>
          </p:cNvPr>
          <p:cNvSpPr txBox="1">
            <a:spLocks/>
          </p:cNvSpPr>
          <p:nvPr/>
        </p:nvSpPr>
        <p:spPr>
          <a:xfrm>
            <a:off x="4268169" y="936255"/>
            <a:ext cx="7391400" cy="1946835"/>
          </a:xfrm>
          <a:prstGeom prst="rect">
            <a:avLst/>
          </a:prstGeom>
        </p:spPr>
        <p:txBody>
          <a:bodyPr vert="horz" lIns="0" tIns="0" rIns="0" bIns="0" rtlCol="0">
            <a:noAutofit/>
          </a:bodyPr>
          <a:lstStyle>
            <a:lvl1pPr marL="0" indent="0" algn="l" defTabSz="914400" rtl="0" eaLnBrk="1" latinLnBrk="0" hangingPunct="1">
              <a:lnSpc>
                <a:spcPct val="96000"/>
              </a:lnSpc>
              <a:spcBef>
                <a:spcPts val="1200"/>
              </a:spcBef>
              <a:spcAft>
                <a:spcPts val="600"/>
              </a:spcAft>
              <a:buClrTx/>
              <a:buFont typeface="Calibri" panose="020F0502020204030204" pitchFamily="34" charset="0"/>
              <a:buChar char="​"/>
              <a:tabLst/>
              <a:defRPr sz="2100" b="0" i="0" kern="1200">
                <a:solidFill>
                  <a:schemeClr val="tx1"/>
                </a:solidFill>
                <a:latin typeface="ES Build Neutral" pitchFamily="2" charset="77"/>
                <a:ea typeface="ES Build Neutral" pitchFamily="2" charset="77"/>
                <a:cs typeface="+mn-cs"/>
              </a:defRPr>
            </a:lvl1pPr>
            <a:lvl2pPr marL="173736" indent="-173736" algn="l" defTabSz="914400" rtl="0" eaLnBrk="1" latinLnBrk="0" hangingPunct="1">
              <a:lnSpc>
                <a:spcPct val="96000"/>
              </a:lnSpc>
              <a:spcBef>
                <a:spcPts val="300"/>
              </a:spcBef>
              <a:spcAft>
                <a:spcPts val="150"/>
              </a:spcAft>
              <a:buClrTx/>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2pPr>
            <a:lvl3pPr marL="342900" indent="-171450" algn="l" defTabSz="914400" rtl="0" eaLnBrk="1" latinLnBrk="0" hangingPunct="1">
              <a:lnSpc>
                <a:spcPct val="96000"/>
              </a:lnSpc>
              <a:spcBef>
                <a:spcPts val="300"/>
              </a:spcBef>
              <a:spcAft>
                <a:spcPts val="150"/>
              </a:spcAft>
              <a:buClrTx/>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3pPr>
            <a:lvl4pPr marL="576072" indent="-173736" algn="l" defTabSz="914400" rtl="0" eaLnBrk="1" latinLnBrk="0" hangingPunct="1">
              <a:lnSpc>
                <a:spcPct val="96000"/>
              </a:lnSpc>
              <a:spcBef>
                <a:spcPts val="300"/>
              </a:spcBef>
              <a:spcAft>
                <a:spcPts val="150"/>
              </a:spcAft>
              <a:buClrTx/>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4pPr>
            <a:lvl5pPr marL="731520" indent="-173736" algn="l" defTabSz="914400" rtl="0" eaLnBrk="1" latinLnBrk="0" hangingPunct="1">
              <a:lnSpc>
                <a:spcPct val="96000"/>
              </a:lnSpc>
              <a:spcBef>
                <a:spcPts val="300"/>
              </a:spcBef>
              <a:spcAft>
                <a:spcPts val="150"/>
              </a:spcAft>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5pPr>
            <a:lvl6pPr marL="11113" indent="0" algn="l" defTabSz="914400" rtl="0" eaLnBrk="1" latinLnBrk="0" hangingPunct="1">
              <a:lnSpc>
                <a:spcPct val="96000"/>
              </a:lnSpc>
              <a:spcBef>
                <a:spcPts val="600"/>
              </a:spcBef>
              <a:spcAft>
                <a:spcPts val="300"/>
              </a:spcAft>
              <a:buFont typeface="System Font Regular"/>
              <a:buChar char="​"/>
              <a:tabLst/>
              <a:defRPr sz="1600" b="0" i="0" kern="1200">
                <a:solidFill>
                  <a:schemeClr val="tx1"/>
                </a:solidFill>
                <a:latin typeface="ES Build Neutral" pitchFamily="2" charset="77"/>
                <a:ea typeface="ES Build Neutral" pitchFamily="2" charset="77"/>
                <a:cs typeface="+mn-cs"/>
              </a:defRPr>
            </a:lvl6pPr>
            <a:lvl7pPr marL="11113" indent="0" algn="l" defTabSz="914400" rtl="0" eaLnBrk="1" latinLnBrk="0" hangingPunct="1">
              <a:lnSpc>
                <a:spcPct val="96000"/>
              </a:lnSpc>
              <a:spcBef>
                <a:spcPts val="600"/>
              </a:spcBef>
              <a:spcAft>
                <a:spcPts val="300"/>
              </a:spcAft>
              <a:buFont typeface="System Font Regular"/>
              <a:buChar char="​"/>
              <a:tabLst/>
              <a:defRPr sz="1600" b="0" i="0" kern="1200">
                <a:solidFill>
                  <a:schemeClr val="tx1"/>
                </a:solidFill>
                <a:latin typeface="ES Build Neutral" pitchFamily="2" charset="77"/>
                <a:ea typeface="ES Build Neutral" pitchFamily="2" charset="77"/>
                <a:cs typeface="+mn-cs"/>
              </a:defRPr>
            </a:lvl7pPr>
            <a:lvl8pPr marL="0" indent="0" algn="l" defTabSz="914400" rtl="0" eaLnBrk="1" latinLnBrk="0" hangingPunct="1">
              <a:lnSpc>
                <a:spcPct val="84000"/>
              </a:lnSpc>
              <a:spcBef>
                <a:spcPts val="300"/>
              </a:spcBef>
              <a:buFont typeface="System Font Regular"/>
              <a:buChar char="​"/>
              <a:tabLst/>
              <a:defRPr sz="5500" b="0" i="0" kern="1200" spc="-150" baseline="0">
                <a:solidFill>
                  <a:srgbClr val="8E71F4"/>
                </a:solidFill>
                <a:latin typeface="ES Build Neutral" pitchFamily="2" charset="77"/>
                <a:ea typeface="ES Build Neutral" pitchFamily="2" charset="77"/>
                <a:cs typeface="+mn-cs"/>
              </a:defRPr>
            </a:lvl8pPr>
            <a:lvl9pPr marL="11113" indent="0" algn="l" defTabSz="914400" rtl="0" eaLnBrk="1" latinLnBrk="0" hangingPunct="1">
              <a:lnSpc>
                <a:spcPct val="84000"/>
              </a:lnSpc>
              <a:spcBef>
                <a:spcPts val="0"/>
              </a:spcBef>
              <a:buFont typeface="System Font Regular"/>
              <a:buChar char="​"/>
              <a:tabLst/>
              <a:defRPr sz="11000" b="0" i="0" kern="1200" spc="-300">
                <a:solidFill>
                  <a:srgbClr val="8E71F4"/>
                </a:solidFill>
                <a:latin typeface="ES Build Neutral" pitchFamily="2" charset="77"/>
                <a:ea typeface="ES Build Neutral" pitchFamily="2" charset="77"/>
                <a:cs typeface="+mn-cs"/>
              </a:defRPr>
            </a:lvl9pPr>
          </a:lstStyle>
          <a:p>
            <a:pPr marL="342900" indent="-342900">
              <a:buFont typeface="Wingdings" panose="05000000000000000000" pitchFamily="2" charset="2"/>
              <a:buChar char="§"/>
            </a:pPr>
            <a:r>
              <a:rPr lang="en-US"/>
              <a:t>Tell users what is absolutely required for the script to successfully execute</a:t>
            </a:r>
          </a:p>
          <a:p>
            <a:pPr marL="342900" indent="-342900">
              <a:buFont typeface="Wingdings" panose="05000000000000000000" pitchFamily="2" charset="2"/>
              <a:buChar char="§"/>
            </a:pPr>
            <a:r>
              <a:rPr lang="en-US"/>
              <a:t>Business logic defines what to check</a:t>
            </a:r>
          </a:p>
          <a:p>
            <a:pPr marL="342900" indent="-342900">
              <a:buFont typeface="Wingdings" panose="05000000000000000000" pitchFamily="2" charset="2"/>
              <a:buChar char="§"/>
            </a:pPr>
            <a:r>
              <a:rPr lang="en-US"/>
              <a:t>Your users will love you for this</a:t>
            </a:r>
            <a:endParaRPr lang="ru-RU"/>
          </a:p>
        </p:txBody>
      </p:sp>
    </p:spTree>
    <p:extLst>
      <p:ext uri="{BB962C8B-B14F-4D97-AF65-F5344CB8AC3E}">
        <p14:creationId xmlns:p14="http://schemas.microsoft.com/office/powerpoint/2010/main" val="14848312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5255567-7BAA-E960-2EA3-B2DA7B587C0E}"/>
              </a:ext>
            </a:extLst>
          </p:cNvPr>
          <p:cNvSpPr>
            <a:spLocks noGrp="1"/>
          </p:cNvSpPr>
          <p:nvPr>
            <p:ph type="ftr" sz="quarter" idx="3"/>
          </p:nvPr>
        </p:nvSpPr>
        <p:spPr/>
        <p:txBody>
          <a:bodyPr/>
          <a:lstStyle/>
          <a:p>
            <a:endParaRPr lang="en-US"/>
          </a:p>
        </p:txBody>
      </p:sp>
      <p:sp>
        <p:nvSpPr>
          <p:cNvPr id="3" name="Title 2">
            <a:extLst>
              <a:ext uri="{FF2B5EF4-FFF2-40B4-BE49-F238E27FC236}">
                <a16:creationId xmlns:a16="http://schemas.microsoft.com/office/drawing/2014/main" id="{7247BEAC-2616-C19E-639D-BC538D266017}"/>
              </a:ext>
            </a:extLst>
          </p:cNvPr>
          <p:cNvSpPr>
            <a:spLocks noGrp="1"/>
          </p:cNvSpPr>
          <p:nvPr>
            <p:ph type="title"/>
          </p:nvPr>
        </p:nvSpPr>
        <p:spPr/>
        <p:txBody>
          <a:bodyPr/>
          <a:lstStyle/>
          <a:p>
            <a:r>
              <a:rPr lang="en-US"/>
              <a:t>Example 1: Administrative Shell</a:t>
            </a:r>
            <a:endParaRPr lang="ru-RU"/>
          </a:p>
        </p:txBody>
      </p:sp>
      <p:sp>
        <p:nvSpPr>
          <p:cNvPr id="4" name="Subtitle 3">
            <a:extLst>
              <a:ext uri="{FF2B5EF4-FFF2-40B4-BE49-F238E27FC236}">
                <a16:creationId xmlns:a16="http://schemas.microsoft.com/office/drawing/2014/main" id="{B73215FD-B176-7B01-6548-5B7BDD81FC77}"/>
              </a:ext>
            </a:extLst>
          </p:cNvPr>
          <p:cNvSpPr>
            <a:spLocks noGrp="1"/>
          </p:cNvSpPr>
          <p:nvPr>
            <p:ph type="subTitle" idx="1"/>
          </p:nvPr>
        </p:nvSpPr>
        <p:spPr/>
        <p:txBody>
          <a:bodyPr/>
          <a:lstStyle/>
          <a:p>
            <a:endParaRPr lang="ru-RU"/>
          </a:p>
        </p:txBody>
      </p:sp>
      <p:sp>
        <p:nvSpPr>
          <p:cNvPr id="5" name="Content Placeholder 4">
            <a:extLst>
              <a:ext uri="{FF2B5EF4-FFF2-40B4-BE49-F238E27FC236}">
                <a16:creationId xmlns:a16="http://schemas.microsoft.com/office/drawing/2014/main" id="{914567E9-1622-1691-551F-D111B0C6F826}"/>
              </a:ext>
            </a:extLst>
          </p:cNvPr>
          <p:cNvSpPr>
            <a:spLocks noGrp="1"/>
          </p:cNvSpPr>
          <p:nvPr>
            <p:ph sz="quarter" idx="10"/>
          </p:nvPr>
        </p:nvSpPr>
        <p:spPr>
          <a:xfrm>
            <a:off x="4305300" y="682626"/>
            <a:ext cx="7391400" cy="1562432"/>
          </a:xfrm>
        </p:spPr>
        <p:txBody>
          <a:bodyPr/>
          <a:lstStyle/>
          <a:p>
            <a:r>
              <a:rPr lang="en-US"/>
              <a:t>if (-not(New-Object </a:t>
            </a:r>
            <a:r>
              <a:rPr lang="en-US" err="1"/>
              <a:t>Security.Principal.WindowsPrincipal</a:t>
            </a:r>
            <a:r>
              <a:rPr lang="en-US"/>
              <a:t>([</a:t>
            </a:r>
            <a:r>
              <a:rPr lang="en-US" err="1"/>
              <a:t>Security.Principal.WindowsIdentity</a:t>
            </a:r>
            <a:r>
              <a:rPr lang="en-US"/>
              <a:t>]::</a:t>
            </a:r>
            <a:r>
              <a:rPr lang="en-US" err="1"/>
              <a:t>GetCurrent</a:t>
            </a:r>
            <a:r>
              <a:rPr lang="en-US"/>
              <a:t>())).</a:t>
            </a:r>
            <a:r>
              <a:rPr lang="en-US" err="1"/>
              <a:t>IsInRole</a:t>
            </a:r>
            <a:r>
              <a:rPr lang="en-US"/>
              <a:t>([</a:t>
            </a:r>
            <a:r>
              <a:rPr lang="en-US" err="1"/>
              <a:t>Security.Principal.WindowsBuiltInRole</a:t>
            </a:r>
            <a:r>
              <a:rPr lang="en-US"/>
              <a:t>]::Administrator))</a:t>
            </a:r>
            <a:endParaRPr lang="ru-RU"/>
          </a:p>
        </p:txBody>
      </p:sp>
      <p:sp>
        <p:nvSpPr>
          <p:cNvPr id="6" name="Content Placeholder 4">
            <a:extLst>
              <a:ext uri="{FF2B5EF4-FFF2-40B4-BE49-F238E27FC236}">
                <a16:creationId xmlns:a16="http://schemas.microsoft.com/office/drawing/2014/main" id="{AE9E8E11-2901-51AE-6A87-13F117CC6405}"/>
              </a:ext>
            </a:extLst>
          </p:cNvPr>
          <p:cNvSpPr txBox="1">
            <a:spLocks/>
          </p:cNvSpPr>
          <p:nvPr/>
        </p:nvSpPr>
        <p:spPr>
          <a:xfrm>
            <a:off x="4305300" y="3050511"/>
            <a:ext cx="7391400" cy="1562432"/>
          </a:xfrm>
          <a:prstGeom prst="rect">
            <a:avLst/>
          </a:prstGeom>
        </p:spPr>
        <p:txBody>
          <a:bodyPr vert="horz" lIns="0" tIns="0" rIns="0" bIns="0" rtlCol="0">
            <a:noAutofit/>
          </a:bodyPr>
          <a:lstStyle>
            <a:lvl1pPr marL="0" indent="0" algn="l" defTabSz="914400" rtl="0" eaLnBrk="1" latinLnBrk="0" hangingPunct="1">
              <a:lnSpc>
                <a:spcPct val="96000"/>
              </a:lnSpc>
              <a:spcBef>
                <a:spcPts val="1200"/>
              </a:spcBef>
              <a:spcAft>
                <a:spcPts val="600"/>
              </a:spcAft>
              <a:buClrTx/>
              <a:buFont typeface="Calibri" panose="020F0502020204030204" pitchFamily="34" charset="0"/>
              <a:buChar char="​"/>
              <a:tabLst/>
              <a:defRPr sz="2100" b="0" i="0" kern="1200">
                <a:solidFill>
                  <a:schemeClr val="tx1"/>
                </a:solidFill>
                <a:latin typeface="ES Build Neutral" pitchFamily="2" charset="77"/>
                <a:ea typeface="ES Build Neutral" pitchFamily="2" charset="77"/>
                <a:cs typeface="+mn-cs"/>
              </a:defRPr>
            </a:lvl1pPr>
            <a:lvl2pPr marL="173736" indent="-173736" algn="l" defTabSz="914400" rtl="0" eaLnBrk="1" latinLnBrk="0" hangingPunct="1">
              <a:lnSpc>
                <a:spcPct val="96000"/>
              </a:lnSpc>
              <a:spcBef>
                <a:spcPts val="300"/>
              </a:spcBef>
              <a:spcAft>
                <a:spcPts val="150"/>
              </a:spcAft>
              <a:buClrTx/>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2pPr>
            <a:lvl3pPr marL="342900" indent="-171450" algn="l" defTabSz="914400" rtl="0" eaLnBrk="1" latinLnBrk="0" hangingPunct="1">
              <a:lnSpc>
                <a:spcPct val="96000"/>
              </a:lnSpc>
              <a:spcBef>
                <a:spcPts val="300"/>
              </a:spcBef>
              <a:spcAft>
                <a:spcPts val="150"/>
              </a:spcAft>
              <a:buClrTx/>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3pPr>
            <a:lvl4pPr marL="576072" indent="-173736" algn="l" defTabSz="914400" rtl="0" eaLnBrk="1" latinLnBrk="0" hangingPunct="1">
              <a:lnSpc>
                <a:spcPct val="96000"/>
              </a:lnSpc>
              <a:spcBef>
                <a:spcPts val="300"/>
              </a:spcBef>
              <a:spcAft>
                <a:spcPts val="150"/>
              </a:spcAft>
              <a:buClrTx/>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4pPr>
            <a:lvl5pPr marL="731520" indent="-173736" algn="l" defTabSz="914400" rtl="0" eaLnBrk="1" latinLnBrk="0" hangingPunct="1">
              <a:lnSpc>
                <a:spcPct val="96000"/>
              </a:lnSpc>
              <a:spcBef>
                <a:spcPts val="300"/>
              </a:spcBef>
              <a:spcAft>
                <a:spcPts val="150"/>
              </a:spcAft>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5pPr>
            <a:lvl6pPr marL="11113" indent="0" algn="l" defTabSz="914400" rtl="0" eaLnBrk="1" latinLnBrk="0" hangingPunct="1">
              <a:lnSpc>
                <a:spcPct val="96000"/>
              </a:lnSpc>
              <a:spcBef>
                <a:spcPts val="600"/>
              </a:spcBef>
              <a:spcAft>
                <a:spcPts val="300"/>
              </a:spcAft>
              <a:buFont typeface="System Font Regular"/>
              <a:buChar char="​"/>
              <a:tabLst/>
              <a:defRPr sz="1600" b="0" i="0" kern="1200">
                <a:solidFill>
                  <a:schemeClr val="tx1"/>
                </a:solidFill>
                <a:latin typeface="ES Build Neutral" pitchFamily="2" charset="77"/>
                <a:ea typeface="ES Build Neutral" pitchFamily="2" charset="77"/>
                <a:cs typeface="+mn-cs"/>
              </a:defRPr>
            </a:lvl6pPr>
            <a:lvl7pPr marL="11113" indent="0" algn="l" defTabSz="914400" rtl="0" eaLnBrk="1" latinLnBrk="0" hangingPunct="1">
              <a:lnSpc>
                <a:spcPct val="96000"/>
              </a:lnSpc>
              <a:spcBef>
                <a:spcPts val="600"/>
              </a:spcBef>
              <a:spcAft>
                <a:spcPts val="300"/>
              </a:spcAft>
              <a:buFont typeface="System Font Regular"/>
              <a:buChar char="​"/>
              <a:tabLst/>
              <a:defRPr sz="1600" b="0" i="0" kern="1200">
                <a:solidFill>
                  <a:schemeClr val="tx1"/>
                </a:solidFill>
                <a:latin typeface="ES Build Neutral" pitchFamily="2" charset="77"/>
                <a:ea typeface="ES Build Neutral" pitchFamily="2" charset="77"/>
                <a:cs typeface="+mn-cs"/>
              </a:defRPr>
            </a:lvl7pPr>
            <a:lvl8pPr marL="0" indent="0" algn="l" defTabSz="914400" rtl="0" eaLnBrk="1" latinLnBrk="0" hangingPunct="1">
              <a:lnSpc>
                <a:spcPct val="84000"/>
              </a:lnSpc>
              <a:spcBef>
                <a:spcPts val="300"/>
              </a:spcBef>
              <a:buFont typeface="System Font Regular"/>
              <a:buChar char="​"/>
              <a:tabLst/>
              <a:defRPr sz="5500" b="0" i="0" kern="1200" spc="-150" baseline="0">
                <a:solidFill>
                  <a:srgbClr val="8E71F4"/>
                </a:solidFill>
                <a:latin typeface="ES Build Neutral" pitchFamily="2" charset="77"/>
                <a:ea typeface="ES Build Neutral" pitchFamily="2" charset="77"/>
                <a:cs typeface="+mn-cs"/>
              </a:defRPr>
            </a:lvl8pPr>
            <a:lvl9pPr marL="11113" indent="0" algn="l" defTabSz="914400" rtl="0" eaLnBrk="1" latinLnBrk="0" hangingPunct="1">
              <a:lnSpc>
                <a:spcPct val="84000"/>
              </a:lnSpc>
              <a:spcBef>
                <a:spcPts val="0"/>
              </a:spcBef>
              <a:buFont typeface="System Font Regular"/>
              <a:buChar char="​"/>
              <a:tabLst/>
              <a:defRPr sz="11000" b="0" i="0" kern="1200" spc="-300">
                <a:solidFill>
                  <a:srgbClr val="8E71F4"/>
                </a:solidFill>
                <a:latin typeface="ES Build Neutral" pitchFamily="2" charset="77"/>
                <a:ea typeface="ES Build Neutral" pitchFamily="2" charset="77"/>
                <a:cs typeface="+mn-cs"/>
              </a:defRPr>
            </a:lvl9pPr>
          </a:lstStyle>
          <a:p>
            <a:pPr marL="342900" indent="-342900">
              <a:buFont typeface="Arial" panose="020B0604020202020204" pitchFamily="34" charset="0"/>
              <a:buChar char="•"/>
            </a:pPr>
            <a:r>
              <a:rPr lang="en-US" sz="2000"/>
              <a:t>Fast and simple check</a:t>
            </a:r>
          </a:p>
          <a:p>
            <a:pPr marL="342900" indent="-342900">
              <a:buFont typeface="Arial" panose="020B0604020202020204" pitchFamily="34" charset="0"/>
              <a:buChar char="•"/>
            </a:pPr>
            <a:r>
              <a:rPr lang="en-US" sz="2000"/>
              <a:t>Many operations in Veeam will require administrator, so best to confirm and tell the user</a:t>
            </a:r>
          </a:p>
          <a:p>
            <a:pPr marL="342900" indent="-342900">
              <a:buFont typeface="Arial" panose="020B0604020202020204" pitchFamily="34" charset="0"/>
              <a:buChar char="•"/>
            </a:pPr>
            <a:r>
              <a:rPr lang="en-US" sz="2000"/>
              <a:t>It is </a:t>
            </a:r>
            <a:r>
              <a:rPr lang="en-US" sz="2000" i="1"/>
              <a:t>NOT</a:t>
            </a:r>
            <a:r>
              <a:rPr lang="en-US" sz="2000"/>
              <a:t> safe to assume users will guess/know this</a:t>
            </a:r>
            <a:endParaRPr lang="ru-RU" sz="2000"/>
          </a:p>
        </p:txBody>
      </p:sp>
    </p:spTree>
    <p:extLst>
      <p:ext uri="{BB962C8B-B14F-4D97-AF65-F5344CB8AC3E}">
        <p14:creationId xmlns:p14="http://schemas.microsoft.com/office/powerpoint/2010/main" val="38318150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A31DA45-7D60-316B-4ED7-EA6AE73B67BA}"/>
              </a:ext>
            </a:extLst>
          </p:cNvPr>
          <p:cNvSpPr>
            <a:spLocks noGrp="1"/>
          </p:cNvSpPr>
          <p:nvPr>
            <p:ph type="ftr" sz="quarter" idx="3"/>
          </p:nvPr>
        </p:nvSpPr>
        <p:spPr/>
        <p:txBody>
          <a:bodyPr/>
          <a:lstStyle/>
          <a:p>
            <a:endParaRPr lang="en-US"/>
          </a:p>
        </p:txBody>
      </p:sp>
      <p:sp>
        <p:nvSpPr>
          <p:cNvPr id="3" name="Title 2">
            <a:extLst>
              <a:ext uri="{FF2B5EF4-FFF2-40B4-BE49-F238E27FC236}">
                <a16:creationId xmlns:a16="http://schemas.microsoft.com/office/drawing/2014/main" id="{3FCC144A-91DF-2B48-6B9C-4A3B28EB0C57}"/>
              </a:ext>
            </a:extLst>
          </p:cNvPr>
          <p:cNvSpPr>
            <a:spLocks noGrp="1"/>
          </p:cNvSpPr>
          <p:nvPr>
            <p:ph type="title"/>
          </p:nvPr>
        </p:nvSpPr>
        <p:spPr/>
        <p:txBody>
          <a:bodyPr/>
          <a:lstStyle/>
          <a:p>
            <a:r>
              <a:rPr lang="en-US"/>
              <a:t>Another Example</a:t>
            </a:r>
            <a:endParaRPr lang="ru-RU"/>
          </a:p>
        </p:txBody>
      </p:sp>
      <p:sp>
        <p:nvSpPr>
          <p:cNvPr id="4" name="Subtitle 3">
            <a:extLst>
              <a:ext uri="{FF2B5EF4-FFF2-40B4-BE49-F238E27FC236}">
                <a16:creationId xmlns:a16="http://schemas.microsoft.com/office/drawing/2014/main" id="{DB6C0002-0F99-D3B3-50F6-4558F48A5F0F}"/>
              </a:ext>
            </a:extLst>
          </p:cNvPr>
          <p:cNvSpPr>
            <a:spLocks noGrp="1"/>
          </p:cNvSpPr>
          <p:nvPr>
            <p:ph type="subTitle" idx="1"/>
          </p:nvPr>
        </p:nvSpPr>
        <p:spPr/>
        <p:txBody>
          <a:bodyPr/>
          <a:lstStyle/>
          <a:p>
            <a:r>
              <a:rPr lang="en-US"/>
              <a:t>What to check?</a:t>
            </a:r>
            <a:endParaRPr lang="ru-RU"/>
          </a:p>
        </p:txBody>
      </p:sp>
      <p:sp>
        <p:nvSpPr>
          <p:cNvPr id="5" name="Content Placeholder 4">
            <a:extLst>
              <a:ext uri="{FF2B5EF4-FFF2-40B4-BE49-F238E27FC236}">
                <a16:creationId xmlns:a16="http://schemas.microsoft.com/office/drawing/2014/main" id="{F111D4B6-2AE1-A6D8-BA1D-99C64AF3DA5F}"/>
              </a:ext>
            </a:extLst>
          </p:cNvPr>
          <p:cNvSpPr>
            <a:spLocks noGrp="1"/>
          </p:cNvSpPr>
          <p:nvPr>
            <p:ph sz="quarter" idx="10"/>
          </p:nvPr>
        </p:nvSpPr>
        <p:spPr>
          <a:xfrm>
            <a:off x="4305300" y="682626"/>
            <a:ext cx="7391400" cy="1036638"/>
          </a:xfrm>
        </p:spPr>
        <p:txBody>
          <a:bodyPr/>
          <a:lstStyle/>
          <a:p>
            <a:pPr marL="342900" indent="-342900">
              <a:buFont typeface="Arial" panose="020B0604020202020204" pitchFamily="34" charset="0"/>
              <a:buChar char="•"/>
            </a:pPr>
            <a:r>
              <a:rPr lang="en-US"/>
              <a:t>Depends on script purpose and technology it will use</a:t>
            </a:r>
          </a:p>
          <a:p>
            <a:pPr marL="342900" indent="-342900">
              <a:buFont typeface="Arial" panose="020B0604020202020204" pitchFamily="34" charset="0"/>
              <a:buChar char="•"/>
            </a:pPr>
            <a:r>
              <a:rPr lang="en-US"/>
              <a:t>Checks allow you to tell the user what to do</a:t>
            </a:r>
            <a:endParaRPr lang="ru-RU"/>
          </a:p>
        </p:txBody>
      </p:sp>
      <p:sp>
        <p:nvSpPr>
          <p:cNvPr id="7" name="TextBox 6">
            <a:extLst>
              <a:ext uri="{FF2B5EF4-FFF2-40B4-BE49-F238E27FC236}">
                <a16:creationId xmlns:a16="http://schemas.microsoft.com/office/drawing/2014/main" id="{B82790AD-9A44-617E-F022-FBD486F3FAD3}"/>
              </a:ext>
            </a:extLst>
          </p:cNvPr>
          <p:cNvSpPr txBox="1"/>
          <p:nvPr/>
        </p:nvSpPr>
        <p:spPr>
          <a:xfrm>
            <a:off x="4099162" y="4169508"/>
            <a:ext cx="7678571" cy="1477328"/>
          </a:xfrm>
          <a:prstGeom prst="rect">
            <a:avLst/>
          </a:prstGeom>
          <a:noFill/>
        </p:spPr>
        <p:txBody>
          <a:bodyPr wrap="square">
            <a:spAutoFit/>
          </a:bodyPr>
          <a:lstStyle/>
          <a:p>
            <a:r>
              <a:rPr lang="ru-RU">
                <a:solidFill>
                  <a:srgbClr val="0070C0"/>
                </a:solidFill>
              </a:rPr>
              <a:t>if(-not(Test-Path $TapeSVCPath)){</a:t>
            </a:r>
          </a:p>
          <a:p>
            <a:r>
              <a:rPr lang="ru-RU">
                <a:solidFill>
                  <a:srgbClr val="0070C0"/>
                </a:solidFill>
              </a:rPr>
              <a:t>   Write-Host -ForegroundColor Red "The Normal Veeam Tape Service Path $TapeSVCPath is not found. Please ensure the script is being run on the tape server requested by Veeam Support"</a:t>
            </a:r>
          </a:p>
          <a:p>
            <a:r>
              <a:rPr lang="ru-RU">
                <a:solidFill>
                  <a:srgbClr val="0070C0"/>
                </a:solidFill>
              </a:rPr>
              <a:t>} </a:t>
            </a:r>
          </a:p>
        </p:txBody>
      </p:sp>
      <p:pic>
        <p:nvPicPr>
          <p:cNvPr id="9" name="Picture 8" descr="A screen shot of a computer screen&#10;&#10;Description automatically generated">
            <a:extLst>
              <a:ext uri="{FF2B5EF4-FFF2-40B4-BE49-F238E27FC236}">
                <a16:creationId xmlns:a16="http://schemas.microsoft.com/office/drawing/2014/main" id="{64A40FC3-CE81-6A0E-F46A-103454B6B20C}"/>
              </a:ext>
            </a:extLst>
          </p:cNvPr>
          <p:cNvPicPr>
            <a:picLocks noChangeAspect="1"/>
          </p:cNvPicPr>
          <p:nvPr/>
        </p:nvPicPr>
        <p:blipFill>
          <a:blip r:embed="rId3"/>
          <a:stretch>
            <a:fillRect/>
          </a:stretch>
        </p:blipFill>
        <p:spPr>
          <a:xfrm>
            <a:off x="3791685" y="1618292"/>
            <a:ext cx="8293526" cy="2336920"/>
          </a:xfrm>
          <a:prstGeom prst="rect">
            <a:avLst/>
          </a:prstGeom>
        </p:spPr>
      </p:pic>
    </p:spTree>
    <p:extLst>
      <p:ext uri="{BB962C8B-B14F-4D97-AF65-F5344CB8AC3E}">
        <p14:creationId xmlns:p14="http://schemas.microsoft.com/office/powerpoint/2010/main" val="40338072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37B66A1-D9F4-251C-498E-D17B3E8BEDCA}"/>
              </a:ext>
            </a:extLst>
          </p:cNvPr>
          <p:cNvSpPr>
            <a:spLocks noGrp="1"/>
          </p:cNvSpPr>
          <p:nvPr>
            <p:ph type="ftr" sz="quarter" idx="3"/>
          </p:nvPr>
        </p:nvSpPr>
        <p:spPr/>
        <p:txBody>
          <a:bodyPr/>
          <a:lstStyle/>
          <a:p>
            <a:endParaRPr lang="en-US"/>
          </a:p>
        </p:txBody>
      </p:sp>
      <p:sp>
        <p:nvSpPr>
          <p:cNvPr id="3" name="Title 2">
            <a:extLst>
              <a:ext uri="{FF2B5EF4-FFF2-40B4-BE49-F238E27FC236}">
                <a16:creationId xmlns:a16="http://schemas.microsoft.com/office/drawing/2014/main" id="{7F9D1DFE-6AD7-450B-2516-0187ADD7ED7C}"/>
              </a:ext>
            </a:extLst>
          </p:cNvPr>
          <p:cNvSpPr>
            <a:spLocks noGrp="1"/>
          </p:cNvSpPr>
          <p:nvPr>
            <p:ph type="title"/>
          </p:nvPr>
        </p:nvSpPr>
        <p:spPr/>
        <p:txBody>
          <a:bodyPr/>
          <a:lstStyle/>
          <a:p>
            <a:r>
              <a:rPr lang="en-US"/>
              <a:t>Common Sanity Tests</a:t>
            </a:r>
            <a:endParaRPr lang="ru-RU"/>
          </a:p>
        </p:txBody>
      </p:sp>
      <p:sp>
        <p:nvSpPr>
          <p:cNvPr id="4" name="Subtitle 3">
            <a:extLst>
              <a:ext uri="{FF2B5EF4-FFF2-40B4-BE49-F238E27FC236}">
                <a16:creationId xmlns:a16="http://schemas.microsoft.com/office/drawing/2014/main" id="{173D2543-AE41-D9DE-0AD0-6C4370356E3E}"/>
              </a:ext>
            </a:extLst>
          </p:cNvPr>
          <p:cNvSpPr>
            <a:spLocks noGrp="1"/>
          </p:cNvSpPr>
          <p:nvPr>
            <p:ph type="subTitle" idx="1"/>
          </p:nvPr>
        </p:nvSpPr>
        <p:spPr/>
        <p:txBody>
          <a:bodyPr/>
          <a:lstStyle/>
          <a:p>
            <a:endParaRPr lang="ru-RU"/>
          </a:p>
        </p:txBody>
      </p:sp>
      <p:graphicFrame>
        <p:nvGraphicFramePr>
          <p:cNvPr id="6" name="Table 5">
            <a:extLst>
              <a:ext uri="{FF2B5EF4-FFF2-40B4-BE49-F238E27FC236}">
                <a16:creationId xmlns:a16="http://schemas.microsoft.com/office/drawing/2014/main" id="{C2B76DEC-AC3E-57E8-3D12-965DD489AACF}"/>
              </a:ext>
            </a:extLst>
          </p:cNvPr>
          <p:cNvGraphicFramePr>
            <a:graphicFrameLocks noGrp="1"/>
          </p:cNvGraphicFramePr>
          <p:nvPr>
            <p:extLst>
              <p:ext uri="{D42A27DB-BD31-4B8C-83A1-F6EECF244321}">
                <p14:modId xmlns:p14="http://schemas.microsoft.com/office/powerpoint/2010/main" val="1397399408"/>
              </p:ext>
            </p:extLst>
          </p:nvPr>
        </p:nvGraphicFramePr>
        <p:xfrm>
          <a:off x="3977565" y="207140"/>
          <a:ext cx="8128000" cy="3754120"/>
        </p:xfrm>
        <a:graphic>
          <a:graphicData uri="http://schemas.openxmlformats.org/drawingml/2006/table">
            <a:tbl>
              <a:tblPr firstRow="1" bandRow="1">
                <a:tableStyleId>{B301B821-A1FF-4177-AEE7-76D212191A09}</a:tableStyleId>
              </a:tblPr>
              <a:tblGrid>
                <a:gridCol w="2032000">
                  <a:extLst>
                    <a:ext uri="{9D8B030D-6E8A-4147-A177-3AD203B41FA5}">
                      <a16:colId xmlns:a16="http://schemas.microsoft.com/office/drawing/2014/main" val="3682577464"/>
                    </a:ext>
                  </a:extLst>
                </a:gridCol>
                <a:gridCol w="2032000">
                  <a:extLst>
                    <a:ext uri="{9D8B030D-6E8A-4147-A177-3AD203B41FA5}">
                      <a16:colId xmlns:a16="http://schemas.microsoft.com/office/drawing/2014/main" val="1950543703"/>
                    </a:ext>
                  </a:extLst>
                </a:gridCol>
                <a:gridCol w="2032000">
                  <a:extLst>
                    <a:ext uri="{9D8B030D-6E8A-4147-A177-3AD203B41FA5}">
                      <a16:colId xmlns:a16="http://schemas.microsoft.com/office/drawing/2014/main" val="1038619024"/>
                    </a:ext>
                  </a:extLst>
                </a:gridCol>
                <a:gridCol w="2032000">
                  <a:extLst>
                    <a:ext uri="{9D8B030D-6E8A-4147-A177-3AD203B41FA5}">
                      <a16:colId xmlns:a16="http://schemas.microsoft.com/office/drawing/2014/main" val="3565914291"/>
                    </a:ext>
                  </a:extLst>
                </a:gridCol>
              </a:tblGrid>
              <a:tr h="370840">
                <a:tc>
                  <a:txBody>
                    <a:bodyPr/>
                    <a:lstStyle/>
                    <a:p>
                      <a:r>
                        <a:rPr lang="en-US"/>
                        <a:t>Item to check</a:t>
                      </a:r>
                      <a:endParaRPr lang="ru-RU"/>
                    </a:p>
                  </a:txBody>
                  <a:tcPr/>
                </a:tc>
                <a:tc>
                  <a:txBody>
                    <a:bodyPr/>
                    <a:lstStyle/>
                    <a:p>
                      <a:r>
                        <a:rPr lang="en-US"/>
                        <a:t>Reason</a:t>
                      </a:r>
                      <a:endParaRPr lang="ru-RU"/>
                    </a:p>
                  </a:txBody>
                  <a:tcPr/>
                </a:tc>
                <a:tc>
                  <a:txBody>
                    <a:bodyPr/>
                    <a:lstStyle/>
                    <a:p>
                      <a:r>
                        <a:rPr lang="en-US"/>
                        <a:t>cmdlet</a:t>
                      </a:r>
                      <a:endParaRPr lang="ru-RU"/>
                    </a:p>
                  </a:txBody>
                  <a:tcPr/>
                </a:tc>
                <a:tc>
                  <a:txBody>
                    <a:bodyPr/>
                    <a:lstStyle/>
                    <a:p>
                      <a:r>
                        <a:rPr lang="en-US"/>
                        <a:t>Returned?</a:t>
                      </a:r>
                      <a:endParaRPr lang="ru-RU"/>
                    </a:p>
                  </a:txBody>
                  <a:tcPr/>
                </a:tc>
                <a:extLst>
                  <a:ext uri="{0D108BD9-81ED-4DB2-BD59-A6C34878D82A}">
                    <a16:rowId xmlns:a16="http://schemas.microsoft.com/office/drawing/2014/main" val="3364531430"/>
                  </a:ext>
                </a:extLst>
              </a:tr>
              <a:tr h="370840">
                <a:tc>
                  <a:txBody>
                    <a:bodyPr/>
                    <a:lstStyle/>
                    <a:p>
                      <a:r>
                        <a:rPr lang="en-US"/>
                        <a:t>Directory or File exists</a:t>
                      </a:r>
                      <a:endParaRPr lang="ru-RU"/>
                    </a:p>
                  </a:txBody>
                  <a:tcPr/>
                </a:tc>
                <a:tc>
                  <a:txBody>
                    <a:bodyPr/>
                    <a:lstStyle/>
                    <a:p>
                      <a:r>
                        <a:rPr lang="en-US"/>
                        <a:t>Check temp </a:t>
                      </a:r>
                      <a:r>
                        <a:rPr lang="en-US" err="1"/>
                        <a:t>dir</a:t>
                      </a:r>
                      <a:r>
                        <a:rPr lang="en-US"/>
                        <a:t>, Registry Key*, File, </a:t>
                      </a:r>
                      <a:r>
                        <a:rPr lang="en-US" err="1"/>
                        <a:t>etc</a:t>
                      </a:r>
                      <a:endParaRPr lang="ru-RU"/>
                    </a:p>
                  </a:txBody>
                  <a:tcPr/>
                </a:tc>
                <a:tc>
                  <a:txBody>
                    <a:bodyPr/>
                    <a:lstStyle/>
                    <a:p>
                      <a:r>
                        <a:rPr lang="en-US"/>
                        <a:t>Test-Path</a:t>
                      </a:r>
                      <a:endParaRPr lang="ru-RU"/>
                    </a:p>
                  </a:txBody>
                  <a:tcPr/>
                </a:tc>
                <a:tc>
                  <a:txBody>
                    <a:bodyPr/>
                    <a:lstStyle/>
                    <a:p>
                      <a:r>
                        <a:rPr lang="en-US"/>
                        <a:t>Boolean</a:t>
                      </a:r>
                      <a:endParaRPr lang="ru-RU"/>
                    </a:p>
                  </a:txBody>
                  <a:tcPr/>
                </a:tc>
                <a:extLst>
                  <a:ext uri="{0D108BD9-81ED-4DB2-BD59-A6C34878D82A}">
                    <a16:rowId xmlns:a16="http://schemas.microsoft.com/office/drawing/2014/main" val="3609383057"/>
                  </a:ext>
                </a:extLst>
              </a:tr>
              <a:tr h="370840">
                <a:tc>
                  <a:txBody>
                    <a:bodyPr/>
                    <a:lstStyle/>
                    <a:p>
                      <a:r>
                        <a:rPr lang="en-US"/>
                        <a:t>Item</a:t>
                      </a:r>
                      <a:endParaRPr lang="ru-RU"/>
                    </a:p>
                  </a:txBody>
                  <a:tcPr/>
                </a:tc>
                <a:tc>
                  <a:txBody>
                    <a:bodyPr/>
                    <a:lstStyle/>
                    <a:p>
                      <a:r>
                        <a:rPr lang="en-US"/>
                        <a:t>Get files**, registry values, </a:t>
                      </a:r>
                      <a:r>
                        <a:rPr lang="en-US" err="1"/>
                        <a:t>etc</a:t>
                      </a:r>
                      <a:endParaRPr lang="ru-RU"/>
                    </a:p>
                  </a:txBody>
                  <a:tcPr/>
                </a:tc>
                <a:tc>
                  <a:txBody>
                    <a:bodyPr/>
                    <a:lstStyle/>
                    <a:p>
                      <a:r>
                        <a:rPr lang="en-US"/>
                        <a:t>Get-</a:t>
                      </a:r>
                      <a:r>
                        <a:rPr lang="en-US" err="1"/>
                        <a:t>ChildItem</a:t>
                      </a:r>
                      <a:endParaRPr lang="ru-RU"/>
                    </a:p>
                  </a:txBody>
                  <a:tcPr/>
                </a:tc>
                <a:tc>
                  <a:txBody>
                    <a:bodyPr/>
                    <a:lstStyle/>
                    <a:p>
                      <a:r>
                        <a:rPr lang="en-US"/>
                        <a:t>Object</a:t>
                      </a:r>
                      <a:endParaRPr lang="ru-RU"/>
                    </a:p>
                  </a:txBody>
                  <a:tcPr/>
                </a:tc>
                <a:extLst>
                  <a:ext uri="{0D108BD9-81ED-4DB2-BD59-A6C34878D82A}">
                    <a16:rowId xmlns:a16="http://schemas.microsoft.com/office/drawing/2014/main" val="3415941363"/>
                  </a:ext>
                </a:extLst>
              </a:tr>
              <a:tr h="370840">
                <a:tc>
                  <a:txBody>
                    <a:bodyPr/>
                    <a:lstStyle/>
                    <a:p>
                      <a:r>
                        <a:rPr lang="en-US"/>
                        <a:t>Item Properties</a:t>
                      </a:r>
                      <a:endParaRPr lang="ru-RU"/>
                    </a:p>
                  </a:txBody>
                  <a:tcPr/>
                </a:tc>
                <a:tc>
                  <a:txBody>
                    <a:bodyPr/>
                    <a:lstStyle/>
                    <a:p>
                      <a:r>
                        <a:rPr lang="en-US"/>
                        <a:t>Check item attributes (e.g., </a:t>
                      </a:r>
                      <a:r>
                        <a:rPr lang="en-US" err="1"/>
                        <a:t>LastModifiedDate</a:t>
                      </a:r>
                      <a:r>
                        <a:rPr lang="en-US"/>
                        <a:t>)</a:t>
                      </a:r>
                      <a:endParaRPr lang="ru-RU"/>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Get-</a:t>
                      </a:r>
                      <a:r>
                        <a:rPr lang="en-US" err="1"/>
                        <a:t>ItemProperty</a:t>
                      </a:r>
                      <a:endParaRPr lang="ru-RU"/>
                    </a:p>
                    <a:p>
                      <a:endParaRPr lang="ru-RU"/>
                    </a:p>
                  </a:txBody>
                  <a:tcPr/>
                </a:tc>
                <a:tc>
                  <a:txBody>
                    <a:bodyPr/>
                    <a:lstStyle/>
                    <a:p>
                      <a:r>
                        <a:rPr lang="en-US"/>
                        <a:t>Object</a:t>
                      </a:r>
                      <a:endParaRPr lang="ru-RU"/>
                    </a:p>
                  </a:txBody>
                  <a:tcPr/>
                </a:tc>
                <a:extLst>
                  <a:ext uri="{0D108BD9-81ED-4DB2-BD59-A6C34878D82A}">
                    <a16:rowId xmlns:a16="http://schemas.microsoft.com/office/drawing/2014/main" val="801926385"/>
                  </a:ext>
                </a:extLst>
              </a:tr>
              <a:tr h="370840">
                <a:tc>
                  <a:txBody>
                    <a:bodyPr/>
                    <a:lstStyle/>
                    <a:p>
                      <a:r>
                        <a:rPr lang="en-US"/>
                        <a:t>Null-ness</a:t>
                      </a:r>
                      <a:endParaRPr lang="ru-RU"/>
                    </a:p>
                  </a:txBody>
                  <a:tcPr/>
                </a:tc>
                <a:tc>
                  <a:txBody>
                    <a:bodyPr/>
                    <a:lstStyle/>
                    <a:p>
                      <a:r>
                        <a:rPr lang="en-US"/>
                        <a:t>Check if object is $null***</a:t>
                      </a:r>
                      <a:endParaRPr lang="ru-RU"/>
                    </a:p>
                  </a:txBody>
                  <a:tcPr/>
                </a:tc>
                <a:tc>
                  <a:txBody>
                    <a:bodyPr/>
                    <a:lstStyle/>
                    <a:p>
                      <a:r>
                        <a:rPr lang="en-US"/>
                        <a:t>$null –eq $object</a:t>
                      </a:r>
                      <a:endParaRPr lang="ru-RU"/>
                    </a:p>
                  </a:txBody>
                  <a:tcPr/>
                </a:tc>
                <a:tc>
                  <a:txBody>
                    <a:bodyPr/>
                    <a:lstStyle/>
                    <a:p>
                      <a:r>
                        <a:rPr lang="en-US"/>
                        <a:t>Boolean</a:t>
                      </a:r>
                      <a:endParaRPr lang="ru-RU"/>
                    </a:p>
                  </a:txBody>
                  <a:tcPr/>
                </a:tc>
                <a:extLst>
                  <a:ext uri="{0D108BD9-81ED-4DB2-BD59-A6C34878D82A}">
                    <a16:rowId xmlns:a16="http://schemas.microsoft.com/office/drawing/2014/main" val="4139785110"/>
                  </a:ext>
                </a:extLst>
              </a:tr>
            </a:tbl>
          </a:graphicData>
        </a:graphic>
      </p:graphicFrame>
      <p:sp>
        <p:nvSpPr>
          <p:cNvPr id="7" name="TextBox 6">
            <a:extLst>
              <a:ext uri="{FF2B5EF4-FFF2-40B4-BE49-F238E27FC236}">
                <a16:creationId xmlns:a16="http://schemas.microsoft.com/office/drawing/2014/main" id="{4089070C-33B1-EC98-B3E9-1D49189B5573}"/>
              </a:ext>
            </a:extLst>
          </p:cNvPr>
          <p:cNvSpPr txBox="1"/>
          <p:nvPr/>
        </p:nvSpPr>
        <p:spPr>
          <a:xfrm>
            <a:off x="3791804" y="5719394"/>
            <a:ext cx="8400196" cy="954107"/>
          </a:xfrm>
          <a:prstGeom prst="rect">
            <a:avLst/>
          </a:prstGeom>
          <a:noFill/>
        </p:spPr>
        <p:txBody>
          <a:bodyPr wrap="square" rtlCol="0">
            <a:spAutoFit/>
          </a:bodyPr>
          <a:lstStyle/>
          <a:p>
            <a:r>
              <a:rPr lang="en-US" sz="1400"/>
              <a:t>* Check existence of key, but not value. Use Get-</a:t>
            </a:r>
            <a:r>
              <a:rPr lang="en-US" sz="1400" err="1"/>
              <a:t>ChildItem</a:t>
            </a:r>
            <a:r>
              <a:rPr lang="en-US" sz="1400"/>
              <a:t> to get the value of a registry entry</a:t>
            </a:r>
          </a:p>
          <a:p>
            <a:r>
              <a:rPr lang="en-US" sz="1400"/>
              <a:t>** Get-</a:t>
            </a:r>
            <a:r>
              <a:rPr lang="en-US" sz="1400" err="1"/>
              <a:t>ChildItem</a:t>
            </a:r>
            <a:r>
              <a:rPr lang="en-US" sz="1400"/>
              <a:t> returns the item as an object, it does not return the contents. Use Get-Content for content</a:t>
            </a:r>
          </a:p>
          <a:p>
            <a:r>
              <a:rPr lang="en-US" sz="1400"/>
              <a:t>*** </a:t>
            </a:r>
            <a:r>
              <a:rPr lang="en-US" sz="1400">
                <a:hlinkClick r:id="rId3"/>
              </a:rPr>
              <a:t>https://learn.microsoft.com/en-us/powershell/scripting/learn/deep-dives/everything-about-null?view=powershell-7.4#checking-for-null</a:t>
            </a:r>
            <a:endParaRPr lang="ru-RU" sz="1400"/>
          </a:p>
        </p:txBody>
      </p:sp>
      <p:pic>
        <p:nvPicPr>
          <p:cNvPr id="9" name="Picture 8" descr="A screen shot of a computer screen&#10;&#10;Description automatically generated">
            <a:extLst>
              <a:ext uri="{FF2B5EF4-FFF2-40B4-BE49-F238E27FC236}">
                <a16:creationId xmlns:a16="http://schemas.microsoft.com/office/drawing/2014/main" id="{81693DCC-A3C6-7B79-D83A-8D60DE13CFA2}"/>
              </a:ext>
            </a:extLst>
          </p:cNvPr>
          <p:cNvPicPr>
            <a:picLocks noChangeAspect="1"/>
          </p:cNvPicPr>
          <p:nvPr/>
        </p:nvPicPr>
        <p:blipFill>
          <a:blip r:embed="rId4"/>
          <a:stretch>
            <a:fillRect/>
          </a:stretch>
        </p:blipFill>
        <p:spPr>
          <a:xfrm>
            <a:off x="4699746" y="3854242"/>
            <a:ext cx="6584312" cy="1881232"/>
          </a:xfrm>
          <a:prstGeom prst="rect">
            <a:avLst/>
          </a:prstGeom>
        </p:spPr>
      </p:pic>
    </p:spTree>
    <p:extLst>
      <p:ext uri="{BB962C8B-B14F-4D97-AF65-F5344CB8AC3E}">
        <p14:creationId xmlns:p14="http://schemas.microsoft.com/office/powerpoint/2010/main" val="10132346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FFB5D97-D655-EE29-710F-DDE88C18E03D}"/>
              </a:ext>
            </a:extLst>
          </p:cNvPr>
          <p:cNvSpPr>
            <a:spLocks noGrp="1"/>
          </p:cNvSpPr>
          <p:nvPr>
            <p:ph type="ftr" sz="quarter" idx="3"/>
          </p:nvPr>
        </p:nvSpPr>
        <p:spPr/>
        <p:txBody>
          <a:bodyPr/>
          <a:lstStyle/>
          <a:p>
            <a:endParaRPr lang="en-US"/>
          </a:p>
        </p:txBody>
      </p:sp>
      <p:sp>
        <p:nvSpPr>
          <p:cNvPr id="3" name="Title 2">
            <a:extLst>
              <a:ext uri="{FF2B5EF4-FFF2-40B4-BE49-F238E27FC236}">
                <a16:creationId xmlns:a16="http://schemas.microsoft.com/office/drawing/2014/main" id="{7C5467A0-44B2-8ECC-B2FC-DFDEEEAEB4FD}"/>
              </a:ext>
            </a:extLst>
          </p:cNvPr>
          <p:cNvSpPr>
            <a:spLocks noGrp="1"/>
          </p:cNvSpPr>
          <p:nvPr>
            <p:ph type="title"/>
          </p:nvPr>
        </p:nvSpPr>
        <p:spPr/>
        <p:txBody>
          <a:bodyPr/>
          <a:lstStyle/>
          <a:p>
            <a:r>
              <a:rPr lang="en-US"/>
              <a:t>Handling Failures</a:t>
            </a:r>
            <a:endParaRPr lang="ru-RU"/>
          </a:p>
        </p:txBody>
      </p:sp>
      <p:sp>
        <p:nvSpPr>
          <p:cNvPr id="4" name="Subtitle 3">
            <a:extLst>
              <a:ext uri="{FF2B5EF4-FFF2-40B4-BE49-F238E27FC236}">
                <a16:creationId xmlns:a16="http://schemas.microsoft.com/office/drawing/2014/main" id="{8AB7BD44-878A-D9EE-CB93-690A0A300542}"/>
              </a:ext>
            </a:extLst>
          </p:cNvPr>
          <p:cNvSpPr>
            <a:spLocks noGrp="1"/>
          </p:cNvSpPr>
          <p:nvPr>
            <p:ph type="subTitle" idx="1"/>
          </p:nvPr>
        </p:nvSpPr>
        <p:spPr/>
        <p:txBody>
          <a:bodyPr/>
          <a:lstStyle/>
          <a:p>
            <a:endParaRPr lang="ru-RU"/>
          </a:p>
        </p:txBody>
      </p:sp>
      <p:sp>
        <p:nvSpPr>
          <p:cNvPr id="7" name="Content Placeholder 6">
            <a:extLst>
              <a:ext uri="{FF2B5EF4-FFF2-40B4-BE49-F238E27FC236}">
                <a16:creationId xmlns:a16="http://schemas.microsoft.com/office/drawing/2014/main" id="{E3B5F2AC-3916-340E-8192-1414F0366DE6}"/>
              </a:ext>
            </a:extLst>
          </p:cNvPr>
          <p:cNvSpPr>
            <a:spLocks noGrp="1"/>
          </p:cNvSpPr>
          <p:nvPr>
            <p:ph sz="quarter" idx="10"/>
          </p:nvPr>
        </p:nvSpPr>
        <p:spPr>
          <a:xfrm>
            <a:off x="4175646" y="409670"/>
            <a:ext cx="7179291" cy="1187117"/>
          </a:xfrm>
        </p:spPr>
        <p:txBody>
          <a:bodyPr/>
          <a:lstStyle/>
          <a:p>
            <a:r>
              <a:rPr lang="en-US"/>
              <a:t>Try/Catch</a:t>
            </a:r>
          </a:p>
          <a:p>
            <a:r>
              <a:rPr lang="en-US" sz="1600">
                <a:hlinkClick r:id="rId3"/>
              </a:rPr>
              <a:t>https://learn.microsoft.com/en-us/powershell/module/microsoft.powershell.core/about/about_try_catch_finally?view=powershell-7.4</a:t>
            </a:r>
            <a:r>
              <a:rPr lang="en-US" sz="1600"/>
              <a:t> (Search “</a:t>
            </a:r>
            <a:r>
              <a:rPr lang="en-US" sz="1600">
                <a:solidFill>
                  <a:srgbClr val="FF0000"/>
                </a:solidFill>
              </a:rPr>
              <a:t>About Try Catch </a:t>
            </a:r>
            <a:r>
              <a:rPr lang="en-US" sz="1600" err="1">
                <a:solidFill>
                  <a:srgbClr val="FF0000"/>
                </a:solidFill>
              </a:rPr>
              <a:t>Powershell</a:t>
            </a:r>
            <a:r>
              <a:rPr lang="en-US" sz="1600"/>
              <a:t>”)</a:t>
            </a:r>
            <a:endParaRPr lang="ru-RU" sz="1600"/>
          </a:p>
        </p:txBody>
      </p:sp>
      <p:sp>
        <p:nvSpPr>
          <p:cNvPr id="9" name="TextBox 8">
            <a:extLst>
              <a:ext uri="{FF2B5EF4-FFF2-40B4-BE49-F238E27FC236}">
                <a16:creationId xmlns:a16="http://schemas.microsoft.com/office/drawing/2014/main" id="{3F958476-53D2-65FA-C393-6ECBC36C5961}"/>
              </a:ext>
            </a:extLst>
          </p:cNvPr>
          <p:cNvSpPr txBox="1"/>
          <p:nvPr/>
        </p:nvSpPr>
        <p:spPr>
          <a:xfrm>
            <a:off x="4476182" y="2140421"/>
            <a:ext cx="6097136" cy="646331"/>
          </a:xfrm>
          <a:prstGeom prst="rect">
            <a:avLst/>
          </a:prstGeom>
          <a:noFill/>
        </p:spPr>
        <p:txBody>
          <a:bodyPr wrap="square">
            <a:spAutoFit/>
          </a:bodyPr>
          <a:lstStyle/>
          <a:p>
            <a:r>
              <a:rPr lang="en-US" sz="1800">
                <a:solidFill>
                  <a:srgbClr val="0000FC"/>
                </a:solidFill>
                <a:latin typeface="Menlo-Regular"/>
              </a:rPr>
              <a:t>try</a:t>
            </a:r>
            <a:r>
              <a:rPr lang="en-US" sz="1800">
                <a:solidFill>
                  <a:srgbClr val="111111"/>
                </a:solidFill>
                <a:latin typeface="Menlo-Regular"/>
              </a:rPr>
              <a:t> { </a:t>
            </a:r>
            <a:r>
              <a:rPr lang="en-US" sz="1800" err="1">
                <a:solidFill>
                  <a:srgbClr val="111111"/>
                </a:solidFill>
                <a:latin typeface="Menlo-Regular"/>
              </a:rPr>
              <a:t>NonsenseString</a:t>
            </a:r>
            <a:r>
              <a:rPr lang="en-US" sz="1800">
                <a:solidFill>
                  <a:srgbClr val="111111"/>
                </a:solidFill>
                <a:latin typeface="Menlo-Regular"/>
              </a:rPr>
              <a:t> } catch {  </a:t>
            </a:r>
            <a:r>
              <a:rPr lang="en-US" sz="1800">
                <a:solidFill>
                  <a:srgbClr val="0000FC"/>
                </a:solidFill>
                <a:latin typeface="Menlo-Regular"/>
              </a:rPr>
              <a:t>Write-Host</a:t>
            </a:r>
            <a:r>
              <a:rPr lang="en-US" sz="1800">
                <a:solidFill>
                  <a:srgbClr val="111111"/>
                </a:solidFill>
                <a:latin typeface="Menlo-Regular"/>
              </a:rPr>
              <a:t> </a:t>
            </a:r>
            <a:r>
              <a:rPr lang="en-US" sz="1800">
                <a:solidFill>
                  <a:srgbClr val="900112"/>
                </a:solidFill>
                <a:latin typeface="Menlo-Regular"/>
              </a:rPr>
              <a:t>"An error occurred:"</a:t>
            </a:r>
            <a:r>
              <a:rPr lang="en-US" sz="1800">
                <a:solidFill>
                  <a:srgbClr val="111111"/>
                </a:solidFill>
                <a:latin typeface="Menlo-Regular"/>
              </a:rPr>
              <a:t>  </a:t>
            </a:r>
            <a:r>
              <a:rPr lang="en-US" sz="1800">
                <a:solidFill>
                  <a:srgbClr val="0000FC"/>
                </a:solidFill>
                <a:latin typeface="Menlo-Regular"/>
              </a:rPr>
              <a:t>Write-Host</a:t>
            </a:r>
            <a:r>
              <a:rPr lang="en-US" sz="1800">
                <a:solidFill>
                  <a:srgbClr val="111111"/>
                </a:solidFill>
                <a:latin typeface="Menlo-Regular"/>
              </a:rPr>
              <a:t> $_} finally {Write-Host “</a:t>
            </a:r>
            <a:r>
              <a:rPr lang="en-US" sz="1800" err="1">
                <a:solidFill>
                  <a:srgbClr val="111111"/>
                </a:solidFill>
                <a:latin typeface="Menlo-Regular"/>
              </a:rPr>
              <a:t>Powershell</a:t>
            </a:r>
            <a:r>
              <a:rPr lang="en-US" sz="1800">
                <a:solidFill>
                  <a:srgbClr val="111111"/>
                </a:solidFill>
                <a:latin typeface="Menlo-Regular"/>
              </a:rPr>
              <a:t> is fun”}</a:t>
            </a:r>
            <a:endParaRPr lang="ru-RU"/>
          </a:p>
        </p:txBody>
      </p:sp>
      <p:sp>
        <p:nvSpPr>
          <p:cNvPr id="10" name="TextBox 9">
            <a:extLst>
              <a:ext uri="{FF2B5EF4-FFF2-40B4-BE49-F238E27FC236}">
                <a16:creationId xmlns:a16="http://schemas.microsoft.com/office/drawing/2014/main" id="{D22293A4-34A3-8CF3-9DE8-354DF1C32636}"/>
              </a:ext>
            </a:extLst>
          </p:cNvPr>
          <p:cNvSpPr txBox="1"/>
          <p:nvPr/>
        </p:nvSpPr>
        <p:spPr>
          <a:xfrm>
            <a:off x="4476182" y="3186752"/>
            <a:ext cx="7547496" cy="923330"/>
          </a:xfrm>
          <a:prstGeom prst="rect">
            <a:avLst/>
          </a:prstGeom>
          <a:noFill/>
        </p:spPr>
        <p:txBody>
          <a:bodyPr wrap="square" rtlCol="0">
            <a:spAutoFit/>
          </a:bodyPr>
          <a:lstStyle/>
          <a:p>
            <a:r>
              <a:rPr lang="en-US"/>
              <a:t>Try = Expression (statement) block to check</a:t>
            </a:r>
          </a:p>
          <a:p>
            <a:r>
              <a:rPr lang="en-US"/>
              <a:t>Catch = What should be done if Try has an Exception</a:t>
            </a:r>
          </a:p>
          <a:p>
            <a:r>
              <a:rPr lang="en-US"/>
              <a:t>Finally = Performed no matter what even if Try doesn’t have exception</a:t>
            </a:r>
            <a:endParaRPr lang="ru-RU"/>
          </a:p>
        </p:txBody>
      </p:sp>
      <p:sp>
        <p:nvSpPr>
          <p:cNvPr id="11" name="TextBox 10">
            <a:extLst>
              <a:ext uri="{FF2B5EF4-FFF2-40B4-BE49-F238E27FC236}">
                <a16:creationId xmlns:a16="http://schemas.microsoft.com/office/drawing/2014/main" id="{908BAE1E-D958-18AF-EFFB-343509BD9F98}"/>
              </a:ext>
            </a:extLst>
          </p:cNvPr>
          <p:cNvSpPr txBox="1"/>
          <p:nvPr/>
        </p:nvSpPr>
        <p:spPr>
          <a:xfrm>
            <a:off x="4053384" y="4888437"/>
            <a:ext cx="8038533" cy="369332"/>
          </a:xfrm>
          <a:prstGeom prst="rect">
            <a:avLst/>
          </a:prstGeom>
          <a:noFill/>
        </p:spPr>
        <p:txBody>
          <a:bodyPr wrap="square" rtlCol="0">
            <a:spAutoFit/>
          </a:bodyPr>
          <a:lstStyle/>
          <a:p>
            <a:r>
              <a:rPr lang="en-US">
                <a:solidFill>
                  <a:srgbClr val="FF0000"/>
                </a:solidFill>
              </a:rPr>
              <a:t>You can have multiple Catch statements for different types of Exceptions</a:t>
            </a:r>
            <a:endParaRPr lang="ru-RU">
              <a:solidFill>
                <a:srgbClr val="FF0000"/>
              </a:solidFill>
            </a:endParaRPr>
          </a:p>
        </p:txBody>
      </p:sp>
    </p:spTree>
    <p:extLst>
      <p:ext uri="{BB962C8B-B14F-4D97-AF65-F5344CB8AC3E}">
        <p14:creationId xmlns:p14="http://schemas.microsoft.com/office/powerpoint/2010/main" val="15643556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A9643C8-C5DB-D117-1C2D-2520E6A067BD}"/>
              </a:ext>
            </a:extLst>
          </p:cNvPr>
          <p:cNvSpPr>
            <a:spLocks noGrp="1"/>
          </p:cNvSpPr>
          <p:nvPr>
            <p:ph type="ftr" sz="quarter" idx="3"/>
          </p:nvPr>
        </p:nvSpPr>
        <p:spPr/>
        <p:txBody>
          <a:bodyPr/>
          <a:lstStyle/>
          <a:p>
            <a:endParaRPr lang="en-US"/>
          </a:p>
        </p:txBody>
      </p:sp>
      <p:sp>
        <p:nvSpPr>
          <p:cNvPr id="3" name="Title 2">
            <a:extLst>
              <a:ext uri="{FF2B5EF4-FFF2-40B4-BE49-F238E27FC236}">
                <a16:creationId xmlns:a16="http://schemas.microsoft.com/office/drawing/2014/main" id="{99E69478-5456-B11E-C832-E1070B27BD4B}"/>
              </a:ext>
            </a:extLst>
          </p:cNvPr>
          <p:cNvSpPr>
            <a:spLocks noGrp="1"/>
          </p:cNvSpPr>
          <p:nvPr>
            <p:ph type="title"/>
          </p:nvPr>
        </p:nvSpPr>
        <p:spPr/>
        <p:txBody>
          <a:bodyPr/>
          <a:lstStyle/>
          <a:p>
            <a:r>
              <a:rPr lang="en-US"/>
              <a:t>Logging</a:t>
            </a:r>
            <a:endParaRPr lang="ru-RU"/>
          </a:p>
        </p:txBody>
      </p:sp>
      <p:sp>
        <p:nvSpPr>
          <p:cNvPr id="4" name="Subtitle 3">
            <a:extLst>
              <a:ext uri="{FF2B5EF4-FFF2-40B4-BE49-F238E27FC236}">
                <a16:creationId xmlns:a16="http://schemas.microsoft.com/office/drawing/2014/main" id="{3781154E-5275-EA8A-A78D-48504A2C36A1}"/>
              </a:ext>
            </a:extLst>
          </p:cNvPr>
          <p:cNvSpPr>
            <a:spLocks noGrp="1"/>
          </p:cNvSpPr>
          <p:nvPr>
            <p:ph type="subTitle" idx="1"/>
          </p:nvPr>
        </p:nvSpPr>
        <p:spPr/>
        <p:txBody>
          <a:bodyPr/>
          <a:lstStyle/>
          <a:p>
            <a:endParaRPr lang="ru-RU"/>
          </a:p>
        </p:txBody>
      </p:sp>
      <p:sp>
        <p:nvSpPr>
          <p:cNvPr id="5" name="Content Placeholder 4">
            <a:extLst>
              <a:ext uri="{FF2B5EF4-FFF2-40B4-BE49-F238E27FC236}">
                <a16:creationId xmlns:a16="http://schemas.microsoft.com/office/drawing/2014/main" id="{0929E855-3FC7-B907-D0CD-01BF9C0CD7DF}"/>
              </a:ext>
            </a:extLst>
          </p:cNvPr>
          <p:cNvSpPr>
            <a:spLocks noGrp="1"/>
          </p:cNvSpPr>
          <p:nvPr>
            <p:ph sz="quarter" idx="10"/>
          </p:nvPr>
        </p:nvSpPr>
        <p:spPr>
          <a:xfrm>
            <a:off x="5902085" y="278674"/>
            <a:ext cx="4101721" cy="436491"/>
          </a:xfrm>
        </p:spPr>
        <p:txBody>
          <a:bodyPr/>
          <a:lstStyle/>
          <a:p>
            <a:pPr algn="ctr">
              <a:buNone/>
            </a:pPr>
            <a:r>
              <a:rPr lang="en-US" sz="2400"/>
              <a:t>Suggestions on what to log</a:t>
            </a:r>
            <a:endParaRPr lang="ru-RU" sz="2400"/>
          </a:p>
        </p:txBody>
      </p:sp>
      <p:graphicFrame>
        <p:nvGraphicFramePr>
          <p:cNvPr id="8" name="Table 7">
            <a:extLst>
              <a:ext uri="{FF2B5EF4-FFF2-40B4-BE49-F238E27FC236}">
                <a16:creationId xmlns:a16="http://schemas.microsoft.com/office/drawing/2014/main" id="{6734A00C-8B6F-8592-2FF2-30068C643DDE}"/>
              </a:ext>
            </a:extLst>
          </p:cNvPr>
          <p:cNvGraphicFramePr>
            <a:graphicFrameLocks noGrp="1"/>
          </p:cNvGraphicFramePr>
          <p:nvPr>
            <p:extLst>
              <p:ext uri="{D42A27DB-BD31-4B8C-83A1-F6EECF244321}">
                <p14:modId xmlns:p14="http://schemas.microsoft.com/office/powerpoint/2010/main" val="2243724573"/>
              </p:ext>
            </p:extLst>
          </p:nvPr>
        </p:nvGraphicFramePr>
        <p:xfrm>
          <a:off x="3888945" y="921224"/>
          <a:ext cx="8127999" cy="3296920"/>
        </p:xfrm>
        <a:graphic>
          <a:graphicData uri="http://schemas.openxmlformats.org/drawingml/2006/table">
            <a:tbl>
              <a:tblPr firstRow="1" bandRow="1">
                <a:tableStyleId>{B301B821-A1FF-4177-AEE7-76D212191A09}</a:tableStyleId>
              </a:tblPr>
              <a:tblGrid>
                <a:gridCol w="2709333">
                  <a:extLst>
                    <a:ext uri="{9D8B030D-6E8A-4147-A177-3AD203B41FA5}">
                      <a16:colId xmlns:a16="http://schemas.microsoft.com/office/drawing/2014/main" val="1097713252"/>
                    </a:ext>
                  </a:extLst>
                </a:gridCol>
                <a:gridCol w="2709333">
                  <a:extLst>
                    <a:ext uri="{9D8B030D-6E8A-4147-A177-3AD203B41FA5}">
                      <a16:colId xmlns:a16="http://schemas.microsoft.com/office/drawing/2014/main" val="2155937674"/>
                    </a:ext>
                  </a:extLst>
                </a:gridCol>
                <a:gridCol w="2709333">
                  <a:extLst>
                    <a:ext uri="{9D8B030D-6E8A-4147-A177-3AD203B41FA5}">
                      <a16:colId xmlns:a16="http://schemas.microsoft.com/office/drawing/2014/main" val="3102659353"/>
                    </a:ext>
                  </a:extLst>
                </a:gridCol>
              </a:tblGrid>
              <a:tr h="164781">
                <a:tc>
                  <a:txBody>
                    <a:bodyPr/>
                    <a:lstStyle/>
                    <a:p>
                      <a:pPr algn="ctr"/>
                      <a:r>
                        <a:rPr lang="en-US"/>
                        <a:t>What</a:t>
                      </a:r>
                      <a:endParaRPr lang="ru-RU"/>
                    </a:p>
                  </a:txBody>
                  <a:tcPr/>
                </a:tc>
                <a:tc>
                  <a:txBody>
                    <a:bodyPr/>
                    <a:lstStyle/>
                    <a:p>
                      <a:pPr algn="ctr"/>
                      <a:r>
                        <a:rPr lang="en-US"/>
                        <a:t>Why</a:t>
                      </a:r>
                      <a:endParaRPr lang="ru-RU"/>
                    </a:p>
                  </a:txBody>
                  <a:tcPr/>
                </a:tc>
                <a:tc>
                  <a:txBody>
                    <a:bodyPr/>
                    <a:lstStyle/>
                    <a:p>
                      <a:pPr algn="ctr"/>
                      <a:r>
                        <a:rPr lang="en-US"/>
                        <a:t>How</a:t>
                      </a:r>
                      <a:endParaRPr lang="ru-RU"/>
                    </a:p>
                  </a:txBody>
                  <a:tcPr/>
                </a:tc>
                <a:extLst>
                  <a:ext uri="{0D108BD9-81ED-4DB2-BD59-A6C34878D82A}">
                    <a16:rowId xmlns:a16="http://schemas.microsoft.com/office/drawing/2014/main" val="1825759055"/>
                  </a:ext>
                </a:extLst>
              </a:tr>
              <a:tr h="370840">
                <a:tc>
                  <a:txBody>
                    <a:bodyPr/>
                    <a:lstStyle/>
                    <a:p>
                      <a:pPr algn="ctr"/>
                      <a:r>
                        <a:rPr lang="en-US"/>
                        <a:t>Try/Catch Errors</a:t>
                      </a:r>
                      <a:endParaRPr lang="ru-RU"/>
                    </a:p>
                  </a:txBody>
                  <a:tcPr/>
                </a:tc>
                <a:tc>
                  <a:txBody>
                    <a:bodyPr/>
                    <a:lstStyle/>
                    <a:p>
                      <a:pPr algn="ctr"/>
                      <a:r>
                        <a:rPr lang="en-US"/>
                        <a:t>Full Error, Object Information</a:t>
                      </a:r>
                      <a:endParaRPr lang="ru-RU"/>
                    </a:p>
                  </a:txBody>
                  <a:tcPr/>
                </a:tc>
                <a:tc>
                  <a:txBody>
                    <a:bodyPr/>
                    <a:lstStyle/>
                    <a:p>
                      <a:pPr algn="ctr"/>
                      <a:r>
                        <a:rPr lang="en-US"/>
                        <a:t>Write to Log</a:t>
                      </a:r>
                    </a:p>
                  </a:txBody>
                  <a:tcPr/>
                </a:tc>
                <a:extLst>
                  <a:ext uri="{0D108BD9-81ED-4DB2-BD59-A6C34878D82A}">
                    <a16:rowId xmlns:a16="http://schemas.microsoft.com/office/drawing/2014/main" val="1923428599"/>
                  </a:ext>
                </a:extLst>
              </a:tr>
              <a:tr h="370840">
                <a:tc>
                  <a:txBody>
                    <a:bodyPr/>
                    <a:lstStyle/>
                    <a:p>
                      <a:pPr algn="ctr"/>
                      <a:r>
                        <a:rPr lang="en-US"/>
                        <a:t>User Inputs (non-sensitive)</a:t>
                      </a:r>
                      <a:endParaRPr lang="ru-RU"/>
                    </a:p>
                  </a:txBody>
                  <a:tcPr/>
                </a:tc>
                <a:tc>
                  <a:txBody>
                    <a:bodyPr/>
                    <a:lstStyle/>
                    <a:p>
                      <a:pPr algn="ctr"/>
                      <a:r>
                        <a:rPr lang="en-US"/>
                        <a:t>Typos, Incorrect Syntax</a:t>
                      </a:r>
                      <a:endParaRPr lang="ru-RU"/>
                    </a:p>
                  </a:txBody>
                  <a:tcPr/>
                </a:tc>
                <a:tc>
                  <a:txBody>
                    <a:bodyPr/>
                    <a:lstStyle/>
                    <a:p>
                      <a:pPr algn="ctr"/>
                      <a:r>
                        <a:rPr lang="en-US"/>
                        <a:t>Write Prompt, Allowed Answers, User Answer</a:t>
                      </a:r>
                    </a:p>
                  </a:txBody>
                  <a:tcPr/>
                </a:tc>
                <a:extLst>
                  <a:ext uri="{0D108BD9-81ED-4DB2-BD59-A6C34878D82A}">
                    <a16:rowId xmlns:a16="http://schemas.microsoft.com/office/drawing/2014/main" val="708790627"/>
                  </a:ext>
                </a:extLst>
              </a:tr>
              <a:tr h="370840">
                <a:tc>
                  <a:txBody>
                    <a:bodyPr/>
                    <a:lstStyle/>
                    <a:p>
                      <a:pPr algn="ctr"/>
                      <a:r>
                        <a:rPr lang="en-US"/>
                        <a:t>Delete Actions</a:t>
                      </a:r>
                      <a:endParaRPr lang="ru-RU"/>
                    </a:p>
                  </a:txBody>
                  <a:tcPr/>
                </a:tc>
                <a:tc>
                  <a:txBody>
                    <a:bodyPr/>
                    <a:lstStyle/>
                    <a:p>
                      <a:pPr algn="ctr"/>
                      <a:r>
                        <a:rPr lang="en-US"/>
                        <a:t>Investigate Incorrect Behavior</a:t>
                      </a:r>
                      <a:endParaRPr lang="ru-RU"/>
                    </a:p>
                  </a:txBody>
                  <a:tcPr/>
                </a:tc>
                <a:tc>
                  <a:txBody>
                    <a:bodyPr/>
                    <a:lstStyle/>
                    <a:p>
                      <a:pPr algn="ctr"/>
                      <a:r>
                        <a:rPr lang="en-US"/>
                        <a:t>What, Why, and How something was deleted</a:t>
                      </a:r>
                    </a:p>
                  </a:txBody>
                  <a:tcPr/>
                </a:tc>
                <a:extLst>
                  <a:ext uri="{0D108BD9-81ED-4DB2-BD59-A6C34878D82A}">
                    <a16:rowId xmlns:a16="http://schemas.microsoft.com/office/drawing/2014/main" val="2702559611"/>
                  </a:ext>
                </a:extLst>
              </a:tr>
              <a:tr h="370840">
                <a:tc>
                  <a:txBody>
                    <a:bodyPr/>
                    <a:lstStyle/>
                    <a:p>
                      <a:pPr algn="ctr"/>
                      <a:r>
                        <a:rPr lang="en-US"/>
                        <a:t>Loops</a:t>
                      </a:r>
                      <a:endParaRPr lang="ru-RU"/>
                    </a:p>
                  </a:txBody>
                  <a:tcPr/>
                </a:tc>
                <a:tc>
                  <a:txBody>
                    <a:bodyPr/>
                    <a:lstStyle/>
                    <a:p>
                      <a:pPr algn="ctr"/>
                      <a:r>
                        <a:rPr lang="en-US"/>
                        <a:t>Easier to investigate errors in loop</a:t>
                      </a:r>
                      <a:endParaRPr lang="ru-RU"/>
                    </a:p>
                  </a:txBody>
                  <a:tcPr/>
                </a:tc>
                <a:tc>
                  <a:txBody>
                    <a:bodyPr/>
                    <a:lstStyle/>
                    <a:p>
                      <a:pPr algn="ctr"/>
                      <a:r>
                        <a:rPr lang="en-US"/>
                        <a:t>Write Object, Error, Action in Loop</a:t>
                      </a:r>
                    </a:p>
                  </a:txBody>
                  <a:tcPr/>
                </a:tc>
                <a:extLst>
                  <a:ext uri="{0D108BD9-81ED-4DB2-BD59-A6C34878D82A}">
                    <a16:rowId xmlns:a16="http://schemas.microsoft.com/office/drawing/2014/main" val="899049320"/>
                  </a:ext>
                </a:extLst>
              </a:tr>
              <a:tr h="370840">
                <a:tc>
                  <a:txBody>
                    <a:bodyPr/>
                    <a:lstStyle/>
                    <a:p>
                      <a:pPr algn="ctr"/>
                      <a:r>
                        <a:rPr lang="en-US"/>
                        <a:t>$Error</a:t>
                      </a:r>
                      <a:endParaRPr lang="ru-RU"/>
                    </a:p>
                  </a:txBody>
                  <a:tcPr/>
                </a:tc>
                <a:tc>
                  <a:txBody>
                    <a:bodyPr/>
                    <a:lstStyle/>
                    <a:p>
                      <a:pPr algn="ctr"/>
                      <a:r>
                        <a:rPr lang="en-US"/>
                        <a:t>Special variable</a:t>
                      </a:r>
                      <a:endParaRPr lang="ru-RU"/>
                    </a:p>
                  </a:txBody>
                  <a:tcPr/>
                </a:tc>
                <a:tc>
                  <a:txBody>
                    <a:bodyPr/>
                    <a:lstStyle/>
                    <a:p>
                      <a:pPr algn="ctr"/>
                      <a:r>
                        <a:rPr lang="en-US"/>
                        <a:t>Write To Log</a:t>
                      </a:r>
                    </a:p>
                  </a:txBody>
                  <a:tcPr/>
                </a:tc>
                <a:extLst>
                  <a:ext uri="{0D108BD9-81ED-4DB2-BD59-A6C34878D82A}">
                    <a16:rowId xmlns:a16="http://schemas.microsoft.com/office/drawing/2014/main" val="3860842896"/>
                  </a:ext>
                </a:extLst>
              </a:tr>
            </a:tbl>
          </a:graphicData>
        </a:graphic>
      </p:graphicFrame>
      <p:sp>
        <p:nvSpPr>
          <p:cNvPr id="9" name="Rectangle 1">
            <a:extLst>
              <a:ext uri="{FF2B5EF4-FFF2-40B4-BE49-F238E27FC236}">
                <a16:creationId xmlns:a16="http://schemas.microsoft.com/office/drawing/2014/main" id="{14C14500-966A-D1EB-EB11-068510DAC477}"/>
              </a:ext>
            </a:extLst>
          </p:cNvPr>
          <p:cNvSpPr>
            <a:spLocks noChangeArrowheads="1"/>
          </p:cNvSpPr>
          <p:nvPr/>
        </p:nvSpPr>
        <p:spPr bwMode="auto">
          <a:xfrm>
            <a:off x="5003824" y="4153655"/>
            <a:ext cx="6223948"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sz="2000" b="0" i="0" u="none" strike="noStrike" cap="none" normalizeH="0" baseline="0">
                <a:ln>
                  <a:noFill/>
                </a:ln>
                <a:solidFill>
                  <a:srgbClr val="0070C0"/>
                </a:solidFill>
                <a:effectLst/>
                <a:latin typeface="Arial Unicode MS"/>
              </a:rPr>
              <a:t>function Write-</a:t>
            </a:r>
            <a:r>
              <a:rPr kumimoji="0" lang="en-US" altLang="ru-RU" sz="2000" b="0" i="0" u="none" strike="noStrike" cap="none" normalizeH="0" baseline="0">
                <a:ln>
                  <a:noFill/>
                </a:ln>
                <a:solidFill>
                  <a:srgbClr val="0070C0"/>
                </a:solidFill>
                <a:effectLst/>
                <a:latin typeface="Arial Unicode MS"/>
              </a:rPr>
              <a:t>Log</a:t>
            </a:r>
            <a:r>
              <a:rPr kumimoji="0" lang="ru-RU" altLang="ru-RU" sz="2000" b="0" i="0" u="none" strike="noStrike" cap="none" normalizeH="0" baseline="0">
                <a:ln>
                  <a:noFill/>
                </a:ln>
                <a:solidFill>
                  <a:srgbClr val="0070C0"/>
                </a:solidFill>
                <a:effectLst/>
                <a:latin typeface="Arial Unicode MS"/>
              </a:rPr>
              <a:t> { </a:t>
            </a:r>
            <a:endParaRPr kumimoji="0" lang="en-US" altLang="ru-RU" sz="2000" b="0" i="0" u="none" strike="noStrike" cap="none" normalizeH="0" baseline="0">
              <a:ln>
                <a:noFill/>
              </a:ln>
              <a:solidFill>
                <a:srgbClr val="0070C0"/>
              </a:solidFill>
              <a:effectLst/>
              <a:latin typeface="Arial Unicode MS"/>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ru-RU" sz="2000">
                <a:solidFill>
                  <a:srgbClr val="0070C0"/>
                </a:solidFill>
                <a:latin typeface="Arial Unicode MS"/>
              </a:rPr>
              <a:t>     </a:t>
            </a:r>
            <a:r>
              <a:rPr kumimoji="0" lang="ru-RU" altLang="ru-RU" sz="2000" b="0" i="0" u="none" strike="noStrike" cap="none" normalizeH="0" baseline="0">
                <a:ln>
                  <a:noFill/>
                </a:ln>
                <a:solidFill>
                  <a:srgbClr val="0070C0"/>
                </a:solidFill>
                <a:effectLst/>
                <a:latin typeface="Arial Unicode MS"/>
              </a:rPr>
              <a:t>param( [string]$LogValue ) </a:t>
            </a:r>
            <a:endParaRPr kumimoji="0" lang="en-US" altLang="ru-RU" sz="2000" b="0" i="0" u="none" strike="noStrike" cap="none" normalizeH="0" baseline="0">
              <a:ln>
                <a:noFill/>
              </a:ln>
              <a:solidFill>
                <a:srgbClr val="0070C0"/>
              </a:solidFill>
              <a:effectLst/>
              <a:latin typeface="Arial Unicode MS"/>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ru-RU" sz="2000">
                <a:solidFill>
                  <a:srgbClr val="0070C0"/>
                </a:solidFill>
                <a:latin typeface="Arial Unicode MS"/>
              </a:rPr>
              <a:t>     $</a:t>
            </a:r>
            <a:r>
              <a:rPr lang="en-US" altLang="ru-RU" sz="2000" err="1">
                <a:solidFill>
                  <a:srgbClr val="0070C0"/>
                </a:solidFill>
                <a:latin typeface="Arial Unicode MS"/>
              </a:rPr>
              <a:t>LogDateTime</a:t>
            </a:r>
            <a:r>
              <a:rPr lang="en-US" altLang="ru-RU" sz="2000">
                <a:solidFill>
                  <a:srgbClr val="0070C0"/>
                </a:solidFill>
                <a:latin typeface="Arial Unicode MS"/>
              </a:rPr>
              <a:t> = Get-Dat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2000" b="0" i="0" u="none" strike="noStrike" cap="none" normalizeH="0" baseline="0">
                <a:ln>
                  <a:noFill/>
                </a:ln>
                <a:solidFill>
                  <a:srgbClr val="0070C0"/>
                </a:solidFill>
                <a:effectLst/>
                <a:latin typeface="Arial Unicode MS"/>
              </a:rPr>
              <a:t>     </a:t>
            </a:r>
            <a:r>
              <a:rPr kumimoji="0" lang="ru-RU" altLang="ru-RU" sz="2000" b="0" i="0" u="none" strike="noStrike" cap="none" normalizeH="0" baseline="0">
                <a:ln>
                  <a:noFill/>
                </a:ln>
                <a:solidFill>
                  <a:srgbClr val="0070C0"/>
                </a:solidFill>
                <a:effectLst/>
                <a:latin typeface="Arial Unicode MS"/>
              </a:rPr>
              <a:t>Add-Content -Value "$</a:t>
            </a:r>
            <a:r>
              <a:rPr kumimoji="0" lang="en-US" altLang="ru-RU" sz="2000" b="0" i="0" u="none" strike="noStrike" cap="none" normalizeH="0" baseline="0">
                <a:ln>
                  <a:noFill/>
                </a:ln>
                <a:solidFill>
                  <a:srgbClr val="0070C0"/>
                </a:solidFill>
                <a:effectLst/>
                <a:latin typeface="Arial Unicode MS"/>
              </a:rPr>
              <a:t>Log</a:t>
            </a:r>
            <a:r>
              <a:rPr kumimoji="0" lang="ru-RU" altLang="ru-RU" sz="2000" b="0" i="0" u="none" strike="noStrike" cap="none" normalizeH="0" baseline="0">
                <a:ln>
                  <a:noFill/>
                </a:ln>
                <a:solidFill>
                  <a:srgbClr val="0070C0"/>
                </a:solidFill>
                <a:effectLst/>
                <a:latin typeface="Arial Unicode MS"/>
              </a:rPr>
              <a:t>DateTime</a:t>
            </a:r>
            <a:r>
              <a:rPr lang="en-US" altLang="ru-RU" sz="2000">
                <a:solidFill>
                  <a:srgbClr val="0070C0"/>
                </a:solidFill>
                <a:latin typeface="Arial Unicode MS"/>
              </a:rPr>
              <a:t> :</a:t>
            </a:r>
            <a:r>
              <a:rPr kumimoji="0" lang="en-US" altLang="ru-RU" sz="2000" b="0" i="0" u="none" strike="noStrike" cap="none" normalizeH="0" baseline="0">
                <a:ln>
                  <a:noFill/>
                </a:ln>
                <a:solidFill>
                  <a:srgbClr val="0070C0"/>
                </a:solidFill>
                <a:effectLst/>
                <a:latin typeface="Arial Unicode MS"/>
              </a:rPr>
              <a:t>::</a:t>
            </a:r>
            <a:r>
              <a:rPr kumimoji="0" lang="ru-RU" altLang="ru-RU" sz="2000" b="0" i="0" u="none" strike="noStrike" cap="none" normalizeH="0" baseline="0">
                <a:ln>
                  <a:noFill/>
                </a:ln>
                <a:solidFill>
                  <a:srgbClr val="0070C0"/>
                </a:solidFill>
                <a:effectLst/>
                <a:latin typeface="Arial Unicode MS"/>
              </a:rPr>
              <a:t> $</a:t>
            </a:r>
            <a:r>
              <a:rPr kumimoji="0" lang="en-US" altLang="ru-RU" sz="2000" b="0" i="0" u="none" strike="noStrike" cap="none" normalizeH="0" baseline="0">
                <a:ln>
                  <a:noFill/>
                </a:ln>
                <a:solidFill>
                  <a:srgbClr val="0070C0"/>
                </a:solidFill>
                <a:effectLst/>
                <a:latin typeface="Arial Unicode MS"/>
              </a:rPr>
              <a:t>Log</a:t>
            </a:r>
            <a:r>
              <a:rPr kumimoji="0" lang="ru-RU" altLang="ru-RU" sz="2000" b="0" i="0" u="none" strike="noStrike" cap="none" normalizeH="0" baseline="0">
                <a:ln>
                  <a:noFill/>
                </a:ln>
                <a:solidFill>
                  <a:srgbClr val="0070C0"/>
                </a:solidFill>
                <a:effectLst/>
                <a:latin typeface="Arial Unicode MS"/>
              </a:rPr>
              <a:t>Value </a:t>
            </a:r>
            <a:endParaRPr kumimoji="0" lang="en-US" altLang="ru-RU" sz="2000" b="0" i="0" u="none" strike="noStrike" cap="none" normalizeH="0" baseline="0">
              <a:ln>
                <a:noFill/>
              </a:ln>
              <a:solidFill>
                <a:srgbClr val="0070C0"/>
              </a:solidFill>
              <a:effectLst/>
              <a:latin typeface="Arial Unicode MS"/>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sz="2000" b="0" i="0" u="none" strike="noStrike" cap="none" normalizeH="0" baseline="0">
                <a:ln>
                  <a:noFill/>
                </a:ln>
                <a:solidFill>
                  <a:srgbClr val="0070C0"/>
                </a:solidFill>
                <a:effectLst/>
                <a:latin typeface="Arial Unicode MS"/>
              </a:rPr>
              <a:t>} </a:t>
            </a:r>
            <a:endParaRPr kumimoji="0" lang="ru-RU" altLang="ru-RU" sz="2000" b="0" i="0" u="none" strike="noStrike" cap="none" normalizeH="0" baseline="0">
              <a:ln>
                <a:noFill/>
              </a:ln>
              <a:solidFill>
                <a:srgbClr val="0070C0"/>
              </a:solidFill>
              <a:effectLst/>
              <a:latin typeface="Arial" panose="020B0604020202020204" pitchFamily="34" charset="0"/>
            </a:endParaRPr>
          </a:p>
        </p:txBody>
      </p:sp>
    </p:spTree>
    <p:extLst>
      <p:ext uri="{BB962C8B-B14F-4D97-AF65-F5344CB8AC3E}">
        <p14:creationId xmlns:p14="http://schemas.microsoft.com/office/powerpoint/2010/main" val="3474910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A9643C8-C5DB-D117-1C2D-2520E6A067BD}"/>
              </a:ext>
            </a:extLst>
          </p:cNvPr>
          <p:cNvSpPr>
            <a:spLocks noGrp="1"/>
          </p:cNvSpPr>
          <p:nvPr>
            <p:ph type="ftr" sz="quarter" idx="3"/>
          </p:nvPr>
        </p:nvSpPr>
        <p:spPr/>
        <p:txBody>
          <a:bodyPr/>
          <a:lstStyle/>
          <a:p>
            <a:endParaRPr lang="en-US"/>
          </a:p>
        </p:txBody>
      </p:sp>
      <p:sp>
        <p:nvSpPr>
          <p:cNvPr id="3" name="Title 2">
            <a:extLst>
              <a:ext uri="{FF2B5EF4-FFF2-40B4-BE49-F238E27FC236}">
                <a16:creationId xmlns:a16="http://schemas.microsoft.com/office/drawing/2014/main" id="{99E69478-5456-B11E-C832-E1070B27BD4B}"/>
              </a:ext>
            </a:extLst>
          </p:cNvPr>
          <p:cNvSpPr>
            <a:spLocks noGrp="1"/>
          </p:cNvSpPr>
          <p:nvPr>
            <p:ph type="title"/>
          </p:nvPr>
        </p:nvSpPr>
        <p:spPr>
          <a:xfrm>
            <a:off x="495301" y="1961982"/>
            <a:ext cx="2859087" cy="2134979"/>
          </a:xfrm>
        </p:spPr>
        <p:txBody>
          <a:bodyPr/>
          <a:lstStyle/>
          <a:p>
            <a:r>
              <a:rPr lang="en-US"/>
              <a:t>Functions</a:t>
            </a:r>
            <a:endParaRPr lang="ru-RU"/>
          </a:p>
        </p:txBody>
      </p:sp>
      <p:sp>
        <p:nvSpPr>
          <p:cNvPr id="4" name="Subtitle 3">
            <a:extLst>
              <a:ext uri="{FF2B5EF4-FFF2-40B4-BE49-F238E27FC236}">
                <a16:creationId xmlns:a16="http://schemas.microsoft.com/office/drawing/2014/main" id="{3781154E-5275-EA8A-A78D-48504A2C36A1}"/>
              </a:ext>
            </a:extLst>
          </p:cNvPr>
          <p:cNvSpPr>
            <a:spLocks noGrp="1"/>
          </p:cNvSpPr>
          <p:nvPr>
            <p:ph type="subTitle" idx="1"/>
          </p:nvPr>
        </p:nvSpPr>
        <p:spPr/>
        <p:txBody>
          <a:bodyPr/>
          <a:lstStyle/>
          <a:p>
            <a:endParaRPr lang="ru-RU"/>
          </a:p>
        </p:txBody>
      </p:sp>
      <p:sp>
        <p:nvSpPr>
          <p:cNvPr id="9" name="Rectangle 1">
            <a:extLst>
              <a:ext uri="{FF2B5EF4-FFF2-40B4-BE49-F238E27FC236}">
                <a16:creationId xmlns:a16="http://schemas.microsoft.com/office/drawing/2014/main" id="{14C14500-966A-D1EB-EB11-068510DAC477}"/>
              </a:ext>
            </a:extLst>
          </p:cNvPr>
          <p:cNvSpPr>
            <a:spLocks noChangeArrowheads="1"/>
          </p:cNvSpPr>
          <p:nvPr/>
        </p:nvSpPr>
        <p:spPr bwMode="auto">
          <a:xfrm>
            <a:off x="7007903" y="344821"/>
            <a:ext cx="5236798" cy="3539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600" b="0" i="0" u="none" strike="noStrike" cap="none" normalizeH="0" baseline="0">
                <a:ln>
                  <a:noFill/>
                </a:ln>
                <a:solidFill>
                  <a:srgbClr val="0070C0"/>
                </a:solidFill>
                <a:effectLst/>
                <a:latin typeface="Arial Unicode MS"/>
              </a:rPr>
              <a:t>function Get-</a:t>
            </a:r>
            <a:r>
              <a:rPr kumimoji="0" lang="en-US" altLang="ru-RU" sz="1600" b="0" i="0" u="none" strike="noStrike" cap="none" normalizeH="0" baseline="0" err="1">
                <a:ln>
                  <a:noFill/>
                </a:ln>
                <a:solidFill>
                  <a:srgbClr val="0070C0"/>
                </a:solidFill>
                <a:effectLst/>
                <a:latin typeface="Arial Unicode MS"/>
              </a:rPr>
              <a:t>CurrentMonday</a:t>
            </a:r>
            <a:r>
              <a:rPr kumimoji="0" lang="en-US" altLang="ru-RU" sz="1600" b="0" i="0" u="none" strike="noStrike" cap="none" normalizeH="0" baseline="0">
                <a:ln>
                  <a:noFill/>
                </a:ln>
                <a:solidFill>
                  <a:srgbClr val="0070C0"/>
                </a:solidFill>
                <a:effectLst/>
                <a:latin typeface="Arial Unicode MS"/>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600" b="0" i="0" u="none" strike="noStrike" cap="none" normalizeH="0" baseline="0">
                <a:ln>
                  <a:noFill/>
                </a:ln>
                <a:solidFill>
                  <a:srgbClr val="0070C0"/>
                </a:solidFill>
                <a:effectLst/>
                <a:latin typeface="Arial Unicode MS"/>
              </a:rPr>
              <a:t>	switch ($</a:t>
            </a:r>
            <a:r>
              <a:rPr kumimoji="0" lang="en-US" altLang="ru-RU" sz="1600" b="0" i="0" u="none" strike="noStrike" cap="none" normalizeH="0" baseline="0" err="1">
                <a:ln>
                  <a:noFill/>
                </a:ln>
                <a:solidFill>
                  <a:srgbClr val="0070C0"/>
                </a:solidFill>
                <a:effectLst/>
                <a:latin typeface="Arial Unicode MS"/>
              </a:rPr>
              <a:t>currDate.DayOfWeek</a:t>
            </a:r>
            <a:r>
              <a:rPr kumimoji="0" lang="en-US" altLang="ru-RU" sz="1600" b="0" i="0" u="none" strike="noStrike" cap="none" normalizeH="0" baseline="0">
                <a:ln>
                  <a:noFill/>
                </a:ln>
                <a:solidFill>
                  <a:srgbClr val="0070C0"/>
                </a:solidFill>
                <a:effectLst/>
                <a:latin typeface="Arial Unicode MS"/>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600" b="0" i="0" u="none" strike="noStrike" cap="none" normalizeH="0" baseline="0">
                <a:ln>
                  <a:noFill/>
                </a:ln>
                <a:solidFill>
                  <a:srgbClr val="0070C0"/>
                </a:solidFill>
                <a:effectLst/>
                <a:latin typeface="Arial Unicode MS"/>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600" b="0" i="0" u="none" strike="noStrike" cap="none" normalizeH="0" baseline="0">
                <a:ln>
                  <a:noFill/>
                </a:ln>
                <a:solidFill>
                  <a:srgbClr val="0070C0"/>
                </a:solidFill>
                <a:effectLst/>
                <a:latin typeface="Arial Unicode MS"/>
              </a:rPr>
              <a:t>			Monday {$i=0}</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600" b="0" i="0" u="none" strike="noStrike" cap="none" normalizeH="0" baseline="0">
                <a:ln>
                  <a:noFill/>
                </a:ln>
                <a:solidFill>
                  <a:srgbClr val="0070C0"/>
                </a:solidFill>
                <a:effectLst/>
                <a:latin typeface="Arial Unicode MS"/>
              </a:rPr>
              <a:t>			Tuesday {$i=-1}</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600" b="0" i="0" u="none" strike="noStrike" cap="none" normalizeH="0" baseline="0">
                <a:ln>
                  <a:noFill/>
                </a:ln>
                <a:solidFill>
                  <a:srgbClr val="0070C0"/>
                </a:solidFill>
                <a:effectLst/>
                <a:latin typeface="Arial Unicode MS"/>
              </a:rPr>
              <a:t>			Wednesday {$i=-2}</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600" b="0" i="0" u="none" strike="noStrike" cap="none" normalizeH="0" baseline="0">
                <a:ln>
                  <a:noFill/>
                </a:ln>
                <a:solidFill>
                  <a:srgbClr val="0070C0"/>
                </a:solidFill>
                <a:effectLst/>
                <a:latin typeface="Arial Unicode MS"/>
              </a:rPr>
              <a:t>			Thursday {$i=-3}</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600" b="0" i="0" u="none" strike="noStrike" cap="none" normalizeH="0" baseline="0">
                <a:ln>
                  <a:noFill/>
                </a:ln>
                <a:solidFill>
                  <a:srgbClr val="0070C0"/>
                </a:solidFill>
                <a:effectLst/>
                <a:latin typeface="Arial Unicode MS"/>
              </a:rPr>
              <a:t>			Friday {$i=-4}</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600" b="0" i="0" u="none" strike="noStrike" cap="none" normalizeH="0" baseline="0">
                <a:ln>
                  <a:noFill/>
                </a:ln>
                <a:solidFill>
                  <a:srgbClr val="0070C0"/>
                </a:solidFill>
                <a:effectLst/>
                <a:latin typeface="Arial Unicode MS"/>
              </a:rPr>
              <a:t>			Saturday{$i=-5}</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600" b="0" i="0" u="none" strike="noStrike" cap="none" normalizeH="0" baseline="0">
                <a:ln>
                  <a:noFill/>
                </a:ln>
                <a:solidFill>
                  <a:srgbClr val="0070C0"/>
                </a:solidFill>
                <a:effectLst/>
                <a:latin typeface="Arial Unicode MS"/>
              </a:rPr>
              <a:t>			Sunday {$i=-6}</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600" b="0" i="0" u="none" strike="noStrike" cap="none" normalizeH="0" baseline="0">
                <a:ln>
                  <a:noFill/>
                </a:ln>
                <a:solidFill>
                  <a:srgbClr val="0070C0"/>
                </a:solidFill>
                <a:effectLst/>
                <a:latin typeface="Arial Unicode MS"/>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600" b="0" i="0" u="none" strike="noStrike" cap="none" normalizeH="0" baseline="0">
                <a:ln>
                  <a:noFill/>
                </a:ln>
                <a:solidFill>
                  <a:srgbClr val="0070C0"/>
                </a:solidFill>
                <a:effectLst/>
                <a:latin typeface="Arial Unicode MS"/>
              </a:rPr>
              <a:t>		$Monday = $</a:t>
            </a:r>
            <a:r>
              <a:rPr kumimoji="0" lang="en-US" altLang="ru-RU" sz="1600" b="0" i="0" u="none" strike="noStrike" cap="none" normalizeH="0" baseline="0" err="1">
                <a:ln>
                  <a:noFill/>
                </a:ln>
                <a:solidFill>
                  <a:srgbClr val="0070C0"/>
                </a:solidFill>
                <a:effectLst/>
                <a:latin typeface="Arial Unicode MS"/>
              </a:rPr>
              <a:t>currDate.AddDays</a:t>
            </a:r>
            <a:r>
              <a:rPr kumimoji="0" lang="en-US" altLang="ru-RU" sz="1600" b="0" i="0" u="none" strike="noStrike" cap="none" normalizeH="0" baseline="0">
                <a:ln>
                  <a:noFill/>
                </a:ln>
                <a:solidFill>
                  <a:srgbClr val="0070C0"/>
                </a:solidFill>
                <a:effectLst/>
                <a:latin typeface="Arial Unicode MS"/>
              </a:rPr>
              <a:t>($i)</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600" b="0" i="0" u="none" strike="noStrike" cap="none" normalizeH="0" baseline="0">
                <a:ln>
                  <a:noFill/>
                </a:ln>
                <a:solidFill>
                  <a:srgbClr val="0070C0"/>
                </a:solidFill>
                <a:effectLst/>
                <a:latin typeface="Arial Unicode MS"/>
              </a:rPr>
              <a:t>		return $</a:t>
            </a:r>
            <a:r>
              <a:rPr kumimoji="0" lang="en-US" altLang="ru-RU" sz="1600" b="0" i="0" u="none" strike="noStrike" cap="none" normalizeH="0" baseline="0" err="1">
                <a:ln>
                  <a:noFill/>
                </a:ln>
                <a:solidFill>
                  <a:srgbClr val="0070C0"/>
                </a:solidFill>
                <a:effectLst/>
                <a:latin typeface="Arial Unicode MS"/>
              </a:rPr>
              <a:t>Monday.Date</a:t>
            </a:r>
            <a:endParaRPr kumimoji="0" lang="en-US" altLang="ru-RU" sz="1600" b="0" i="0" u="none" strike="noStrike" cap="none" normalizeH="0" baseline="0">
              <a:ln>
                <a:noFill/>
              </a:ln>
              <a:solidFill>
                <a:srgbClr val="0070C0"/>
              </a:solidFill>
              <a:effectLst/>
              <a:latin typeface="Arial Unicode MS"/>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600" b="0" i="0" u="none" strike="noStrike" cap="none" normalizeH="0" baseline="0">
                <a:ln>
                  <a:noFill/>
                </a:ln>
                <a:solidFill>
                  <a:srgbClr val="0070C0"/>
                </a:solidFill>
                <a:effectLst/>
                <a:latin typeface="Arial Unicode MS"/>
              </a:rPr>
              <a:t>}</a:t>
            </a:r>
            <a:endParaRPr kumimoji="0" lang="ru-RU" altLang="ru-RU" sz="1600" b="0" i="0" u="none" strike="noStrike" cap="none" normalizeH="0" baseline="0">
              <a:ln>
                <a:noFill/>
              </a:ln>
              <a:solidFill>
                <a:srgbClr val="0070C0"/>
              </a:solidFill>
              <a:effectLst/>
              <a:latin typeface="Arial" panose="020B0604020202020204" pitchFamily="34" charset="0"/>
            </a:endParaRPr>
          </a:p>
        </p:txBody>
      </p:sp>
      <p:sp>
        <p:nvSpPr>
          <p:cNvPr id="10" name="Content Placeholder 4">
            <a:extLst>
              <a:ext uri="{FF2B5EF4-FFF2-40B4-BE49-F238E27FC236}">
                <a16:creationId xmlns:a16="http://schemas.microsoft.com/office/drawing/2014/main" id="{1CEA60B6-F946-0E3C-73EA-9843DD518880}"/>
              </a:ext>
            </a:extLst>
          </p:cNvPr>
          <p:cNvSpPr>
            <a:spLocks noGrp="1"/>
          </p:cNvSpPr>
          <p:nvPr>
            <p:ph sz="quarter" idx="10"/>
          </p:nvPr>
        </p:nvSpPr>
        <p:spPr>
          <a:xfrm>
            <a:off x="3803131" y="1259758"/>
            <a:ext cx="3204772" cy="3539429"/>
          </a:xfrm>
        </p:spPr>
        <p:txBody>
          <a:bodyPr/>
          <a:lstStyle/>
          <a:p>
            <a:pPr marL="342900" indent="-342900">
              <a:buFont typeface="Arial" panose="020B0604020202020204" pitchFamily="34" charset="0"/>
              <a:buChar char="•"/>
            </a:pPr>
            <a:r>
              <a:rPr lang="en-US"/>
              <a:t>Reduce amount of code</a:t>
            </a:r>
          </a:p>
          <a:p>
            <a:pPr marL="342900" indent="-342900">
              <a:buFont typeface="Arial" panose="020B0604020202020204" pitchFamily="34" charset="0"/>
              <a:buChar char="•"/>
            </a:pPr>
            <a:r>
              <a:rPr lang="en-US"/>
              <a:t>Easier to update</a:t>
            </a:r>
          </a:p>
          <a:p>
            <a:pPr marL="342900" indent="-342900">
              <a:buFont typeface="Arial" panose="020B0604020202020204" pitchFamily="34" charset="0"/>
              <a:buChar char="•"/>
            </a:pPr>
            <a:r>
              <a:rPr lang="en-US"/>
              <a:t>Readability</a:t>
            </a:r>
          </a:p>
          <a:p>
            <a:pPr marL="342900" indent="-342900">
              <a:buFont typeface="Arial" panose="020B0604020202020204" pitchFamily="34" charset="0"/>
              <a:buChar char="•"/>
            </a:pPr>
            <a:r>
              <a:rPr lang="en-US"/>
              <a:t>Re-use in other scripts</a:t>
            </a:r>
            <a:endParaRPr lang="ru-RU"/>
          </a:p>
        </p:txBody>
      </p:sp>
    </p:spTree>
    <p:extLst>
      <p:ext uri="{BB962C8B-B14F-4D97-AF65-F5344CB8AC3E}">
        <p14:creationId xmlns:p14="http://schemas.microsoft.com/office/powerpoint/2010/main" val="10927648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46DD83C9-7C11-DCED-1B08-3DCA16126745}"/>
              </a:ext>
            </a:extLst>
          </p:cNvPr>
          <p:cNvSpPr>
            <a:spLocks noGrp="1"/>
          </p:cNvSpPr>
          <p:nvPr>
            <p:ph type="subTitle" idx="1"/>
          </p:nvPr>
        </p:nvSpPr>
        <p:spPr>
          <a:xfrm>
            <a:off x="502188" y="890422"/>
            <a:ext cx="11194511" cy="338993"/>
          </a:xfrm>
        </p:spPr>
        <p:txBody>
          <a:bodyPr/>
          <a:lstStyle/>
          <a:p>
            <a:r>
              <a:rPr lang="en-US"/>
              <a:t>Follow along with a copy of the presentation and the example script</a:t>
            </a:r>
            <a:endParaRPr lang="ru-RU"/>
          </a:p>
        </p:txBody>
      </p:sp>
      <p:sp>
        <p:nvSpPr>
          <p:cNvPr id="4" name="Footer Placeholder 3">
            <a:extLst>
              <a:ext uri="{FF2B5EF4-FFF2-40B4-BE49-F238E27FC236}">
                <a16:creationId xmlns:a16="http://schemas.microsoft.com/office/drawing/2014/main" id="{0A3AB001-E855-C3FA-430C-3727EBCC4078}"/>
              </a:ext>
            </a:extLst>
          </p:cNvPr>
          <p:cNvSpPr>
            <a:spLocks noGrp="1"/>
          </p:cNvSpPr>
          <p:nvPr>
            <p:ph type="ftr" sz="quarter" idx="3"/>
          </p:nvPr>
        </p:nvSpPr>
        <p:spPr/>
        <p:txBody>
          <a:bodyPr/>
          <a:lstStyle/>
          <a:p>
            <a:endParaRPr lang="en-US"/>
          </a:p>
        </p:txBody>
      </p:sp>
      <p:sp>
        <p:nvSpPr>
          <p:cNvPr id="8" name="Title 7">
            <a:extLst>
              <a:ext uri="{FF2B5EF4-FFF2-40B4-BE49-F238E27FC236}">
                <a16:creationId xmlns:a16="http://schemas.microsoft.com/office/drawing/2014/main" id="{DA81A7A4-9D1A-BEC1-FBC8-AFE40C772225}"/>
              </a:ext>
            </a:extLst>
          </p:cNvPr>
          <p:cNvSpPr>
            <a:spLocks noGrp="1"/>
          </p:cNvSpPr>
          <p:nvPr>
            <p:ph type="title"/>
          </p:nvPr>
        </p:nvSpPr>
        <p:spPr/>
        <p:txBody>
          <a:bodyPr/>
          <a:lstStyle/>
          <a:p>
            <a:r>
              <a:rPr lang="en-US" err="1"/>
              <a:t>Github</a:t>
            </a:r>
            <a:r>
              <a:rPr lang="en-US"/>
              <a:t> Repo Link</a:t>
            </a:r>
            <a:endParaRPr lang="ru-RU"/>
          </a:p>
        </p:txBody>
      </p:sp>
      <p:pic>
        <p:nvPicPr>
          <p:cNvPr id="5" name="Picture 4" descr="A qr code with green squares&#10;&#10;Description automatically generated">
            <a:extLst>
              <a:ext uri="{FF2B5EF4-FFF2-40B4-BE49-F238E27FC236}">
                <a16:creationId xmlns:a16="http://schemas.microsoft.com/office/drawing/2014/main" id="{C7C54F10-C409-ECE0-86EC-C7B2365A407F}"/>
              </a:ext>
            </a:extLst>
          </p:cNvPr>
          <p:cNvPicPr>
            <a:picLocks noChangeAspect="1"/>
          </p:cNvPicPr>
          <p:nvPr/>
        </p:nvPicPr>
        <p:blipFill>
          <a:blip r:embed="rId3"/>
          <a:stretch>
            <a:fillRect/>
          </a:stretch>
        </p:blipFill>
        <p:spPr>
          <a:xfrm>
            <a:off x="3820040" y="1172159"/>
            <a:ext cx="4550328" cy="4550328"/>
          </a:xfrm>
          <a:prstGeom prst="rect">
            <a:avLst/>
          </a:prstGeom>
        </p:spPr>
      </p:pic>
      <p:sp>
        <p:nvSpPr>
          <p:cNvPr id="9" name="TextBox 8">
            <a:extLst>
              <a:ext uri="{FF2B5EF4-FFF2-40B4-BE49-F238E27FC236}">
                <a16:creationId xmlns:a16="http://schemas.microsoft.com/office/drawing/2014/main" id="{4D61C7C8-82A7-1181-6FA1-A5F4BB4C5522}"/>
              </a:ext>
            </a:extLst>
          </p:cNvPr>
          <p:cNvSpPr txBox="1"/>
          <p:nvPr/>
        </p:nvSpPr>
        <p:spPr>
          <a:xfrm>
            <a:off x="2040176" y="5722487"/>
            <a:ext cx="8110057" cy="369332"/>
          </a:xfrm>
          <a:prstGeom prst="rect">
            <a:avLst/>
          </a:prstGeom>
          <a:noFill/>
        </p:spPr>
        <p:txBody>
          <a:bodyPr wrap="square">
            <a:spAutoFit/>
          </a:bodyPr>
          <a:lstStyle/>
          <a:p>
            <a:r>
              <a:rPr lang="ru-RU" dirty="0">
                <a:hlinkClick r:id="rId4"/>
              </a:rPr>
              <a:t>https://github.com/ddomask/v100-summit-berlin2024-powershell-deepdive</a:t>
            </a:r>
            <a:endParaRPr lang="ru-RU" dirty="0"/>
          </a:p>
        </p:txBody>
      </p:sp>
    </p:spTree>
    <p:extLst>
      <p:ext uri="{BB962C8B-B14F-4D97-AF65-F5344CB8AC3E}">
        <p14:creationId xmlns:p14="http://schemas.microsoft.com/office/powerpoint/2010/main" val="24363016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AEB86C-9420-55EE-B05F-0A9D4F699CC6}"/>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965EA78-DDF4-9007-7746-69B275B6E950}"/>
              </a:ext>
            </a:extLst>
          </p:cNvPr>
          <p:cNvSpPr>
            <a:spLocks noGrp="1"/>
          </p:cNvSpPr>
          <p:nvPr>
            <p:ph type="title"/>
          </p:nvPr>
        </p:nvSpPr>
        <p:spPr>
          <a:xfrm>
            <a:off x="1076446" y="1447799"/>
            <a:ext cx="6123007" cy="3167743"/>
          </a:xfrm>
        </p:spPr>
        <p:txBody>
          <a:bodyPr/>
          <a:lstStyle/>
          <a:p>
            <a:r>
              <a:rPr lang="en-GB"/>
              <a:t>PowerShell</a:t>
            </a:r>
            <a:br>
              <a:rPr lang="en-GB"/>
            </a:br>
            <a:r>
              <a:rPr lang="en-GB"/>
              <a:t>in action</a:t>
            </a:r>
          </a:p>
        </p:txBody>
      </p:sp>
    </p:spTree>
    <p:extLst>
      <p:ext uri="{BB962C8B-B14F-4D97-AF65-F5344CB8AC3E}">
        <p14:creationId xmlns:p14="http://schemas.microsoft.com/office/powerpoint/2010/main" val="38830091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28680F-4408-419D-9755-2EDAE21C68A1}"/>
            </a:ext>
          </a:extLst>
        </p:cNvPr>
        <p:cNvGrpSpPr/>
        <p:nvPr/>
      </p:nvGrpSpPr>
      <p:grpSpPr>
        <a:xfrm>
          <a:off x="0" y="0"/>
          <a:ext cx="0" cy="0"/>
          <a:chOff x="0" y="0"/>
          <a:chExt cx="0" cy="0"/>
        </a:xfrm>
      </p:grpSpPr>
      <p:sp>
        <p:nvSpPr>
          <p:cNvPr id="8" name="Content Placeholder 7">
            <a:extLst>
              <a:ext uri="{FF2B5EF4-FFF2-40B4-BE49-F238E27FC236}">
                <a16:creationId xmlns:a16="http://schemas.microsoft.com/office/drawing/2014/main" id="{D9E7DB68-C538-EF53-59EA-29986D859C61}"/>
              </a:ext>
            </a:extLst>
          </p:cNvPr>
          <p:cNvSpPr>
            <a:spLocks noGrp="1"/>
          </p:cNvSpPr>
          <p:nvPr>
            <p:ph sz="quarter" idx="10"/>
          </p:nvPr>
        </p:nvSpPr>
        <p:spPr/>
        <p:txBody>
          <a:bodyPr/>
          <a:lstStyle/>
          <a:p>
            <a:r>
              <a:rPr lang="en-US" dirty="0"/>
              <a:t>Veeam Backup &amp; Replication community edition install</a:t>
            </a:r>
          </a:p>
          <a:p>
            <a:endParaRPr lang="en-US" dirty="0"/>
          </a:p>
          <a:p>
            <a:endParaRPr lang="en-US" dirty="0"/>
          </a:p>
          <a:p>
            <a:endParaRPr lang="en-US" dirty="0"/>
          </a:p>
          <a:p>
            <a:endParaRPr lang="en-US" dirty="0"/>
          </a:p>
          <a:p>
            <a:endParaRPr lang="en-US" dirty="0"/>
          </a:p>
          <a:p>
            <a:endParaRPr lang="en-US" dirty="0"/>
          </a:p>
          <a:p>
            <a:endParaRPr lang="en-US" dirty="0"/>
          </a:p>
          <a:p>
            <a:pPr>
              <a:buNone/>
            </a:pPr>
            <a:endParaRPr lang="en-US" dirty="0"/>
          </a:p>
          <a:p>
            <a:r>
              <a:rPr lang="en-US" dirty="0"/>
              <a:t>Ansible natively supports PowerShell!</a:t>
            </a:r>
          </a:p>
        </p:txBody>
      </p:sp>
      <p:sp>
        <p:nvSpPr>
          <p:cNvPr id="2" name="Footer Placeholder 1">
            <a:extLst>
              <a:ext uri="{FF2B5EF4-FFF2-40B4-BE49-F238E27FC236}">
                <a16:creationId xmlns:a16="http://schemas.microsoft.com/office/drawing/2014/main" id="{50B3BD95-B54C-6190-8103-2C022D415925}"/>
              </a:ext>
            </a:extLst>
          </p:cNvPr>
          <p:cNvSpPr>
            <a:spLocks noGrp="1"/>
          </p:cNvSpPr>
          <p:nvPr>
            <p:ph type="ftr" sz="quarter" idx="3"/>
          </p:nvPr>
        </p:nvSpPr>
        <p:spPr/>
        <p:txBody>
          <a:bodyPr/>
          <a:lstStyle/>
          <a:p>
            <a:endParaRPr lang="en-US"/>
          </a:p>
        </p:txBody>
      </p:sp>
      <p:sp>
        <p:nvSpPr>
          <p:cNvPr id="3" name="Title 2">
            <a:extLst>
              <a:ext uri="{FF2B5EF4-FFF2-40B4-BE49-F238E27FC236}">
                <a16:creationId xmlns:a16="http://schemas.microsoft.com/office/drawing/2014/main" id="{6569B959-0A04-F7D7-C86B-163B7C8CD4C3}"/>
              </a:ext>
            </a:extLst>
          </p:cNvPr>
          <p:cNvSpPr>
            <a:spLocks noGrp="1"/>
          </p:cNvSpPr>
          <p:nvPr>
            <p:ph type="title"/>
          </p:nvPr>
        </p:nvSpPr>
        <p:spPr/>
        <p:txBody>
          <a:bodyPr/>
          <a:lstStyle/>
          <a:p>
            <a:r>
              <a:rPr lang="en-US"/>
              <a:t>Ansible</a:t>
            </a:r>
            <a:endParaRPr lang="ru-RU"/>
          </a:p>
        </p:txBody>
      </p:sp>
      <p:sp>
        <p:nvSpPr>
          <p:cNvPr id="4" name="Subtitle 3">
            <a:extLst>
              <a:ext uri="{FF2B5EF4-FFF2-40B4-BE49-F238E27FC236}">
                <a16:creationId xmlns:a16="http://schemas.microsoft.com/office/drawing/2014/main" id="{C15AF95A-D3E4-EF55-F9C0-D1AA051B37D6}"/>
              </a:ext>
            </a:extLst>
          </p:cNvPr>
          <p:cNvSpPr>
            <a:spLocks noGrp="1"/>
          </p:cNvSpPr>
          <p:nvPr>
            <p:ph type="subTitle" idx="1"/>
          </p:nvPr>
        </p:nvSpPr>
        <p:spPr/>
        <p:txBody>
          <a:bodyPr/>
          <a:lstStyle/>
          <a:p>
            <a:r>
              <a:rPr lang="en-US" dirty="0"/>
              <a:t>Why? Aren’t we talking about PowerShell?</a:t>
            </a:r>
          </a:p>
        </p:txBody>
      </p:sp>
      <p:pic>
        <p:nvPicPr>
          <p:cNvPr id="6" name="Picture 5">
            <a:extLst>
              <a:ext uri="{FF2B5EF4-FFF2-40B4-BE49-F238E27FC236}">
                <a16:creationId xmlns:a16="http://schemas.microsoft.com/office/drawing/2014/main" id="{A3FD8C99-9936-0FAB-6232-C7FB41EEE809}"/>
              </a:ext>
            </a:extLst>
          </p:cNvPr>
          <p:cNvPicPr>
            <a:picLocks noChangeAspect="1"/>
          </p:cNvPicPr>
          <p:nvPr/>
        </p:nvPicPr>
        <p:blipFill>
          <a:blip r:embed="rId3"/>
          <a:stretch>
            <a:fillRect/>
          </a:stretch>
        </p:blipFill>
        <p:spPr>
          <a:xfrm>
            <a:off x="4120365" y="1289490"/>
            <a:ext cx="7241906" cy="3981152"/>
          </a:xfrm>
          <a:prstGeom prst="rect">
            <a:avLst/>
          </a:prstGeom>
        </p:spPr>
      </p:pic>
    </p:spTree>
    <p:extLst>
      <p:ext uri="{BB962C8B-B14F-4D97-AF65-F5344CB8AC3E}">
        <p14:creationId xmlns:p14="http://schemas.microsoft.com/office/powerpoint/2010/main" val="13812279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862FCB-4A9B-94FA-AF9C-F4C5845C4B97}"/>
            </a:ext>
          </a:extLst>
        </p:cNvPr>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3E05412-FE71-5BB0-86CC-806519B314A1}"/>
              </a:ext>
            </a:extLst>
          </p:cNvPr>
          <p:cNvSpPr>
            <a:spLocks noGrp="1"/>
          </p:cNvSpPr>
          <p:nvPr>
            <p:ph sz="quarter" idx="10"/>
          </p:nvPr>
        </p:nvSpPr>
        <p:spPr/>
        <p:txBody>
          <a:bodyPr/>
          <a:lstStyle/>
          <a:p>
            <a:r>
              <a:rPr lang="en-US" dirty="0"/>
              <a:t>Veeam Backup &amp; Replication install with remote PostgreSQL</a:t>
            </a:r>
          </a:p>
          <a:p>
            <a:endParaRPr lang="en-US" dirty="0"/>
          </a:p>
        </p:txBody>
      </p:sp>
      <p:sp>
        <p:nvSpPr>
          <p:cNvPr id="2" name="Footer Placeholder 1">
            <a:extLst>
              <a:ext uri="{FF2B5EF4-FFF2-40B4-BE49-F238E27FC236}">
                <a16:creationId xmlns:a16="http://schemas.microsoft.com/office/drawing/2014/main" id="{699C2A6F-D764-CFD6-6F5B-673212656D74}"/>
              </a:ext>
            </a:extLst>
          </p:cNvPr>
          <p:cNvSpPr>
            <a:spLocks noGrp="1"/>
          </p:cNvSpPr>
          <p:nvPr>
            <p:ph type="ftr" sz="quarter" idx="3"/>
          </p:nvPr>
        </p:nvSpPr>
        <p:spPr/>
        <p:txBody>
          <a:bodyPr/>
          <a:lstStyle/>
          <a:p>
            <a:endParaRPr lang="en-US"/>
          </a:p>
        </p:txBody>
      </p:sp>
      <p:sp>
        <p:nvSpPr>
          <p:cNvPr id="3" name="Title 2">
            <a:extLst>
              <a:ext uri="{FF2B5EF4-FFF2-40B4-BE49-F238E27FC236}">
                <a16:creationId xmlns:a16="http://schemas.microsoft.com/office/drawing/2014/main" id="{9A0AD6B5-7CE2-BD65-34CA-FC03A5641D94}"/>
              </a:ext>
            </a:extLst>
          </p:cNvPr>
          <p:cNvSpPr>
            <a:spLocks noGrp="1"/>
          </p:cNvSpPr>
          <p:nvPr>
            <p:ph type="title"/>
          </p:nvPr>
        </p:nvSpPr>
        <p:spPr/>
        <p:txBody>
          <a:bodyPr/>
          <a:lstStyle/>
          <a:p>
            <a:r>
              <a:rPr lang="en-US"/>
              <a:t>Ansible</a:t>
            </a:r>
            <a:endParaRPr lang="ru-RU"/>
          </a:p>
        </p:txBody>
      </p:sp>
      <p:pic>
        <p:nvPicPr>
          <p:cNvPr id="9" name="Picture 8">
            <a:extLst>
              <a:ext uri="{FF2B5EF4-FFF2-40B4-BE49-F238E27FC236}">
                <a16:creationId xmlns:a16="http://schemas.microsoft.com/office/drawing/2014/main" id="{07AAA99D-5102-B659-B016-6E6CB62DD3B4}"/>
              </a:ext>
            </a:extLst>
          </p:cNvPr>
          <p:cNvPicPr>
            <a:picLocks noChangeAspect="1"/>
          </p:cNvPicPr>
          <p:nvPr/>
        </p:nvPicPr>
        <p:blipFill>
          <a:blip r:embed="rId3"/>
          <a:srcRect r="24587"/>
          <a:stretch/>
        </p:blipFill>
        <p:spPr>
          <a:xfrm>
            <a:off x="4114800" y="1173279"/>
            <a:ext cx="7659384" cy="4988205"/>
          </a:xfrm>
          <a:prstGeom prst="rect">
            <a:avLst/>
          </a:prstGeom>
        </p:spPr>
      </p:pic>
      <p:sp>
        <p:nvSpPr>
          <p:cNvPr id="11" name="Subtitle 10">
            <a:extLst>
              <a:ext uri="{FF2B5EF4-FFF2-40B4-BE49-F238E27FC236}">
                <a16:creationId xmlns:a16="http://schemas.microsoft.com/office/drawing/2014/main" id="{F165779C-757E-A314-24D7-61E9C237C598}"/>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563542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B0852B-CA51-EDE3-87CC-6B3AC7BD884B}"/>
            </a:ext>
          </a:extLst>
        </p:cNvPr>
        <p:cNvGrpSpPr/>
        <p:nvPr/>
      </p:nvGrpSpPr>
      <p:grpSpPr>
        <a:xfrm>
          <a:off x="0" y="0"/>
          <a:ext cx="0" cy="0"/>
          <a:chOff x="0" y="0"/>
          <a:chExt cx="0" cy="0"/>
        </a:xfrm>
      </p:grpSpPr>
      <p:sp>
        <p:nvSpPr>
          <p:cNvPr id="8" name="Content Placeholder 7">
            <a:extLst>
              <a:ext uri="{FF2B5EF4-FFF2-40B4-BE49-F238E27FC236}">
                <a16:creationId xmlns:a16="http://schemas.microsoft.com/office/drawing/2014/main" id="{7BB9EAD2-4675-A2F5-900A-79139F0ECEBE}"/>
              </a:ext>
            </a:extLst>
          </p:cNvPr>
          <p:cNvSpPr>
            <a:spLocks noGrp="1"/>
          </p:cNvSpPr>
          <p:nvPr>
            <p:ph sz="quarter" idx="10"/>
          </p:nvPr>
        </p:nvSpPr>
        <p:spPr/>
        <p:txBody>
          <a:bodyPr/>
          <a:lstStyle/>
          <a:p>
            <a:r>
              <a:rPr lang="en-US" dirty="0"/>
              <a:t>Unofficial, community supported projects created by</a:t>
            </a:r>
            <a:br>
              <a:rPr lang="en-US" dirty="0"/>
            </a:br>
            <a:r>
              <a:rPr lang="en-US" dirty="0"/>
              <a:t>Veeam enthusiasts.</a:t>
            </a:r>
          </a:p>
          <a:p>
            <a:endParaRPr lang="en-US" dirty="0"/>
          </a:p>
          <a:p>
            <a:pPr marL="342900" indent="-342900">
              <a:buFont typeface="Wingdings" pitchFamily="2" charset="2"/>
              <a:buChar char="v"/>
            </a:pPr>
            <a:r>
              <a:rPr lang="en-US" dirty="0"/>
              <a:t>Open source</a:t>
            </a:r>
          </a:p>
          <a:p>
            <a:pPr marL="342900" indent="-342900">
              <a:buFont typeface="Wingdings" pitchFamily="2" charset="2"/>
              <a:buChar char="v"/>
            </a:pPr>
            <a:r>
              <a:rPr lang="en-US" dirty="0"/>
              <a:t>Over 200 scripts</a:t>
            </a:r>
          </a:p>
          <a:p>
            <a:pPr marL="342900" indent="-342900">
              <a:buFont typeface="Wingdings" pitchFamily="2" charset="2"/>
              <a:buChar char="v"/>
            </a:pPr>
            <a:r>
              <a:rPr lang="en-US" dirty="0"/>
              <a:t>Over 100k lines of code!</a:t>
            </a:r>
          </a:p>
          <a:p>
            <a:pPr marL="342900" indent="-342900">
              <a:buFont typeface="Wingdings" pitchFamily="2" charset="2"/>
              <a:buChar char="v"/>
            </a:pPr>
            <a:r>
              <a:rPr lang="en-US" dirty="0"/>
              <a:t>Contributions welcomed</a:t>
            </a:r>
          </a:p>
        </p:txBody>
      </p:sp>
      <p:sp>
        <p:nvSpPr>
          <p:cNvPr id="2" name="Footer Placeholder 1">
            <a:extLst>
              <a:ext uri="{FF2B5EF4-FFF2-40B4-BE49-F238E27FC236}">
                <a16:creationId xmlns:a16="http://schemas.microsoft.com/office/drawing/2014/main" id="{A6179726-83A7-80C1-7C61-B3FDB6988544}"/>
              </a:ext>
            </a:extLst>
          </p:cNvPr>
          <p:cNvSpPr>
            <a:spLocks noGrp="1"/>
          </p:cNvSpPr>
          <p:nvPr>
            <p:ph type="ftr" sz="quarter" idx="3"/>
          </p:nvPr>
        </p:nvSpPr>
        <p:spPr/>
        <p:txBody>
          <a:bodyPr/>
          <a:lstStyle/>
          <a:p>
            <a:endParaRPr lang="en-US"/>
          </a:p>
        </p:txBody>
      </p:sp>
      <p:sp>
        <p:nvSpPr>
          <p:cNvPr id="3" name="Title 2">
            <a:extLst>
              <a:ext uri="{FF2B5EF4-FFF2-40B4-BE49-F238E27FC236}">
                <a16:creationId xmlns:a16="http://schemas.microsoft.com/office/drawing/2014/main" id="{F5F307FE-8541-2BFE-F7DC-1A4DEEBDAFB9}"/>
              </a:ext>
            </a:extLst>
          </p:cNvPr>
          <p:cNvSpPr>
            <a:spLocks noGrp="1"/>
          </p:cNvSpPr>
          <p:nvPr>
            <p:ph type="title"/>
          </p:nvPr>
        </p:nvSpPr>
        <p:spPr/>
        <p:txBody>
          <a:bodyPr/>
          <a:lstStyle/>
          <a:p>
            <a:r>
              <a:rPr lang="en-US" dirty="0"/>
              <a:t>VeeamHub</a:t>
            </a:r>
            <a:endParaRPr lang="ru-RU" dirty="0"/>
          </a:p>
        </p:txBody>
      </p:sp>
      <p:sp>
        <p:nvSpPr>
          <p:cNvPr id="4" name="Subtitle 3">
            <a:extLst>
              <a:ext uri="{FF2B5EF4-FFF2-40B4-BE49-F238E27FC236}">
                <a16:creationId xmlns:a16="http://schemas.microsoft.com/office/drawing/2014/main" id="{CA9FE6F9-09E0-C676-0ECF-8FF4D5067B19}"/>
              </a:ext>
            </a:extLst>
          </p:cNvPr>
          <p:cNvSpPr>
            <a:spLocks noGrp="1"/>
          </p:cNvSpPr>
          <p:nvPr>
            <p:ph type="subTitle" idx="1"/>
          </p:nvPr>
        </p:nvSpPr>
        <p:spPr>
          <a:xfrm>
            <a:off x="495300" y="6061144"/>
            <a:ext cx="2859086" cy="429781"/>
          </a:xfrm>
        </p:spPr>
        <p:txBody>
          <a:bodyPr/>
          <a:lstStyle/>
          <a:p>
            <a:r>
              <a:rPr lang="en-US" dirty="0"/>
              <a:t>github.com/VeeamHub</a:t>
            </a:r>
          </a:p>
        </p:txBody>
      </p:sp>
      <p:pic>
        <p:nvPicPr>
          <p:cNvPr id="1026" name="Picture 2">
            <a:extLst>
              <a:ext uri="{FF2B5EF4-FFF2-40B4-BE49-F238E27FC236}">
                <a16:creationId xmlns:a16="http://schemas.microsoft.com/office/drawing/2014/main" id="{423615A5-B81B-AA14-6F52-565F4EDE359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2453" y="300537"/>
            <a:ext cx="2011594" cy="201159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ufkleber - We Want You | SZ - Folien">
            <a:extLst>
              <a:ext uri="{FF2B5EF4-FFF2-40B4-BE49-F238E27FC236}">
                <a16:creationId xmlns:a16="http://schemas.microsoft.com/office/drawing/2014/main" id="{2F276239-46C1-118E-F32E-2EB0C9E429F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8390" b="6818"/>
          <a:stretch/>
        </p:blipFill>
        <p:spPr bwMode="auto">
          <a:xfrm>
            <a:off x="7478656" y="1306334"/>
            <a:ext cx="3941987" cy="422947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E4646FA9-72FD-5B78-F15F-3216CED31415}"/>
              </a:ext>
            </a:extLst>
          </p:cNvPr>
          <p:cNvPicPr>
            <a:picLocks noChangeAspect="1"/>
          </p:cNvPicPr>
          <p:nvPr/>
        </p:nvPicPr>
        <p:blipFill>
          <a:blip r:embed="rId5">
            <a:duotone>
              <a:schemeClr val="accent2">
                <a:shade val="45000"/>
                <a:satMod val="135000"/>
              </a:schemeClr>
              <a:prstClr val="white"/>
            </a:duotone>
          </a:blip>
          <a:stretch>
            <a:fillRect/>
          </a:stretch>
        </p:blipFill>
        <p:spPr>
          <a:xfrm>
            <a:off x="543955" y="3421071"/>
            <a:ext cx="2548590" cy="2548590"/>
          </a:xfrm>
          <a:prstGeom prst="rect">
            <a:avLst/>
          </a:prstGeom>
        </p:spPr>
      </p:pic>
    </p:spTree>
    <p:extLst>
      <p:ext uri="{BB962C8B-B14F-4D97-AF65-F5344CB8AC3E}">
        <p14:creationId xmlns:p14="http://schemas.microsoft.com/office/powerpoint/2010/main" val="34836594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21F5CF10-D432-56F7-F9F1-134AB4D0D02F}"/>
              </a:ext>
            </a:extLst>
          </p:cNvPr>
          <p:cNvSpPr>
            <a:spLocks noGrp="1"/>
          </p:cNvSpPr>
          <p:nvPr>
            <p:ph type="subTitle" idx="1"/>
          </p:nvPr>
        </p:nvSpPr>
        <p:spPr/>
        <p:txBody>
          <a:bodyPr/>
          <a:lstStyle/>
          <a:p>
            <a:endParaRPr lang="en-US"/>
          </a:p>
        </p:txBody>
      </p:sp>
      <p:sp>
        <p:nvSpPr>
          <p:cNvPr id="3" name="Picture Placeholder 2">
            <a:extLst>
              <a:ext uri="{FF2B5EF4-FFF2-40B4-BE49-F238E27FC236}">
                <a16:creationId xmlns:a16="http://schemas.microsoft.com/office/drawing/2014/main" id="{D84A566D-30F1-7BB5-2606-03F74CBB337D}"/>
              </a:ext>
            </a:extLst>
          </p:cNvPr>
          <p:cNvSpPr>
            <a:spLocks noGrp="1"/>
          </p:cNvSpPr>
          <p:nvPr>
            <p:ph type="pic" sz="quarter" idx="10"/>
          </p:nvPr>
        </p:nvSpPr>
        <p:spPr/>
        <p:txBody>
          <a:bodyPr/>
          <a:lstStyle/>
          <a:p>
            <a:endParaRPr lang="ru-RU"/>
          </a:p>
        </p:txBody>
      </p:sp>
      <p:sp>
        <p:nvSpPr>
          <p:cNvPr id="4" name="Title 3">
            <a:extLst>
              <a:ext uri="{FF2B5EF4-FFF2-40B4-BE49-F238E27FC236}">
                <a16:creationId xmlns:a16="http://schemas.microsoft.com/office/drawing/2014/main" id="{DC2C032A-05FE-238B-E811-CA9E4FCC5C57}"/>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31689443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0C9248E-5FA2-E9E9-FD35-2D3B6E280CB3}"/>
              </a:ext>
            </a:extLst>
          </p:cNvPr>
          <p:cNvSpPr>
            <a:spLocks noGrp="1"/>
          </p:cNvSpPr>
          <p:nvPr>
            <p:ph type="title"/>
          </p:nvPr>
        </p:nvSpPr>
        <p:spPr/>
        <p:txBody>
          <a:bodyPr/>
          <a:lstStyle/>
          <a:p>
            <a:r>
              <a:rPr lang="en-GB"/>
              <a:t>Section divider title</a:t>
            </a:r>
          </a:p>
        </p:txBody>
      </p:sp>
      <p:sp>
        <p:nvSpPr>
          <p:cNvPr id="8" name="Text Placeholder 7">
            <a:extLst>
              <a:ext uri="{FF2B5EF4-FFF2-40B4-BE49-F238E27FC236}">
                <a16:creationId xmlns:a16="http://schemas.microsoft.com/office/drawing/2014/main" id="{49B8A96F-F31A-AE86-895A-5E40D431AE1D}"/>
              </a:ext>
            </a:extLst>
          </p:cNvPr>
          <p:cNvSpPr>
            <a:spLocks noGrp="1"/>
          </p:cNvSpPr>
          <p:nvPr>
            <p:ph type="body" sz="quarter" idx="11"/>
          </p:nvPr>
        </p:nvSpPr>
        <p:spPr/>
        <p:txBody>
          <a:bodyPr/>
          <a:lstStyle/>
          <a:p>
            <a:r>
              <a:rPr lang="en-GB"/>
              <a:t>Section</a:t>
            </a:r>
            <a:r>
              <a:rPr lang="ru-RU"/>
              <a:t> </a:t>
            </a:r>
            <a:r>
              <a:rPr lang="en-GB"/>
              <a:t>#</a:t>
            </a:r>
          </a:p>
        </p:txBody>
      </p:sp>
      <p:sp>
        <p:nvSpPr>
          <p:cNvPr id="7" name="Subtitle 6">
            <a:extLst>
              <a:ext uri="{FF2B5EF4-FFF2-40B4-BE49-F238E27FC236}">
                <a16:creationId xmlns:a16="http://schemas.microsoft.com/office/drawing/2014/main" id="{BAD7C021-72B1-8E6B-F507-7D0F71446797}"/>
              </a:ext>
            </a:extLst>
          </p:cNvPr>
          <p:cNvSpPr>
            <a:spLocks noGrp="1"/>
          </p:cNvSpPr>
          <p:nvPr>
            <p:ph type="subTitle" idx="1"/>
          </p:nvPr>
        </p:nvSpPr>
        <p:spPr/>
        <p:txBody>
          <a:bodyPr/>
          <a:lstStyle/>
          <a:p>
            <a:r>
              <a:rPr lang="en-GB"/>
              <a:t>Section divider subtitle</a:t>
            </a:r>
          </a:p>
        </p:txBody>
      </p:sp>
    </p:spTree>
    <p:extLst>
      <p:ext uri="{BB962C8B-B14F-4D97-AF65-F5344CB8AC3E}">
        <p14:creationId xmlns:p14="http://schemas.microsoft.com/office/powerpoint/2010/main" val="20204868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16031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42D7E0E-0347-B3C0-D096-33C5BD70FB60}"/>
              </a:ext>
            </a:extLst>
          </p:cNvPr>
          <p:cNvSpPr>
            <a:spLocks noGrp="1"/>
          </p:cNvSpPr>
          <p:nvPr>
            <p:ph type="title"/>
          </p:nvPr>
        </p:nvSpPr>
        <p:spPr>
          <a:xfrm>
            <a:off x="849312" y="2467915"/>
            <a:ext cx="10419821" cy="1232645"/>
          </a:xfrm>
        </p:spPr>
        <p:txBody>
          <a:bodyPr/>
          <a:lstStyle/>
          <a:p>
            <a:r>
              <a:rPr lang="en-US" sz="8800">
                <a:solidFill>
                  <a:srgbClr val="00D15F"/>
                </a:solidFill>
              </a:rPr>
              <a:t>ALL GREEN CONTENT</a:t>
            </a:r>
            <a:br>
              <a:rPr lang="en-US" sz="8800">
                <a:solidFill>
                  <a:srgbClr val="00D15F"/>
                </a:solidFill>
              </a:rPr>
            </a:br>
            <a:endParaRPr lang="en-US" sz="8800">
              <a:solidFill>
                <a:srgbClr val="00D15F"/>
              </a:solidFill>
            </a:endParaRPr>
          </a:p>
        </p:txBody>
      </p:sp>
    </p:spTree>
    <p:extLst>
      <p:ext uri="{BB962C8B-B14F-4D97-AF65-F5344CB8AC3E}">
        <p14:creationId xmlns:p14="http://schemas.microsoft.com/office/powerpoint/2010/main" val="2940317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B9354C-7D78-D1F3-5D46-F57D83F7DCC2}"/>
              </a:ext>
            </a:extLst>
          </p:cNvPr>
          <p:cNvSpPr>
            <a:spLocks noGrp="1"/>
          </p:cNvSpPr>
          <p:nvPr>
            <p:ph type="title"/>
          </p:nvPr>
        </p:nvSpPr>
        <p:spPr/>
        <p:txBody>
          <a:bodyPr/>
          <a:lstStyle/>
          <a:p>
            <a:r>
              <a:rPr lang="en-US" sz="7900"/>
              <a:t>Agenda</a:t>
            </a:r>
          </a:p>
        </p:txBody>
      </p:sp>
      <p:sp>
        <p:nvSpPr>
          <p:cNvPr id="3" name="Text Placeholder 2">
            <a:extLst>
              <a:ext uri="{FF2B5EF4-FFF2-40B4-BE49-F238E27FC236}">
                <a16:creationId xmlns:a16="http://schemas.microsoft.com/office/drawing/2014/main" id="{7E53EF2A-8498-41AA-1597-52DABD5A553A}"/>
              </a:ext>
            </a:extLst>
          </p:cNvPr>
          <p:cNvSpPr>
            <a:spLocks noGrp="1"/>
          </p:cNvSpPr>
          <p:nvPr>
            <p:ph type="body" sz="quarter" idx="13"/>
          </p:nvPr>
        </p:nvSpPr>
        <p:spPr>
          <a:xfrm>
            <a:off x="4872942" y="696686"/>
            <a:ext cx="6809048" cy="4836014"/>
          </a:xfrm>
        </p:spPr>
        <p:txBody>
          <a:bodyPr/>
          <a:lstStyle/>
          <a:p>
            <a:pPr marL="571500" indent="-571500">
              <a:buSzPct val="70000"/>
              <a:buFont typeface="Wingdings" pitchFamily="2" charset="2"/>
              <a:buChar char="ü"/>
            </a:pPr>
            <a:r>
              <a:rPr lang="en-US" sz="4000"/>
              <a:t>Useful PowerShell commands </a:t>
            </a:r>
          </a:p>
          <a:p>
            <a:pPr marL="571500" indent="-571500">
              <a:buSzPct val="70000"/>
              <a:buFont typeface="Wingdings" pitchFamily="2" charset="2"/>
              <a:buChar char="ü"/>
            </a:pPr>
            <a:r>
              <a:rPr lang="en-US" sz="4000"/>
              <a:t>Script design tips</a:t>
            </a:r>
          </a:p>
          <a:p>
            <a:pPr marL="571500" indent="-571500">
              <a:buSzPct val="70000"/>
              <a:buFont typeface="Wingdings" pitchFamily="2" charset="2"/>
              <a:buChar char="ü"/>
            </a:pPr>
            <a:r>
              <a:rPr lang="en-US" sz="4000"/>
              <a:t>PowerShell in action</a:t>
            </a:r>
          </a:p>
        </p:txBody>
      </p:sp>
    </p:spTree>
    <p:extLst>
      <p:ext uri="{BB962C8B-B14F-4D97-AF65-F5344CB8AC3E}">
        <p14:creationId xmlns:p14="http://schemas.microsoft.com/office/powerpoint/2010/main" val="24419199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C7932B-38DF-950C-5DE2-03322EF0117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B9B1A8C-62F0-54F2-402A-082CD523BE11}"/>
              </a:ext>
            </a:extLst>
          </p:cNvPr>
          <p:cNvSpPr>
            <a:spLocks noGrp="1"/>
          </p:cNvSpPr>
          <p:nvPr>
            <p:ph type="title"/>
          </p:nvPr>
        </p:nvSpPr>
        <p:spPr>
          <a:xfrm>
            <a:off x="1018573" y="1447799"/>
            <a:ext cx="6487128" cy="3167743"/>
          </a:xfrm>
        </p:spPr>
        <p:txBody>
          <a:bodyPr/>
          <a:lstStyle/>
          <a:p>
            <a:r>
              <a:rPr lang="en-GB"/>
              <a:t>Useful PowerShell commands</a:t>
            </a:r>
          </a:p>
        </p:txBody>
      </p:sp>
    </p:spTree>
    <p:extLst>
      <p:ext uri="{BB962C8B-B14F-4D97-AF65-F5344CB8AC3E}">
        <p14:creationId xmlns:p14="http://schemas.microsoft.com/office/powerpoint/2010/main" val="22784462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2A967A-E5F3-3BF2-84D4-3859BA235D1A}"/>
            </a:ext>
          </a:extLst>
        </p:cNvPr>
        <p:cNvGrpSpPr/>
        <p:nvPr/>
      </p:nvGrpSpPr>
      <p:grpSpPr>
        <a:xfrm>
          <a:off x="0" y="0"/>
          <a:ext cx="0" cy="0"/>
          <a:chOff x="0" y="0"/>
          <a:chExt cx="0" cy="0"/>
        </a:xfrm>
      </p:grpSpPr>
      <p:sp>
        <p:nvSpPr>
          <p:cNvPr id="8" name="Content Placeholder 7">
            <a:extLst>
              <a:ext uri="{FF2B5EF4-FFF2-40B4-BE49-F238E27FC236}">
                <a16:creationId xmlns:a16="http://schemas.microsoft.com/office/drawing/2014/main" id="{6090999A-4A24-1A93-BDA3-2A0808E80FDB}"/>
              </a:ext>
            </a:extLst>
          </p:cNvPr>
          <p:cNvSpPr>
            <a:spLocks noGrp="1"/>
          </p:cNvSpPr>
          <p:nvPr>
            <p:ph sz="quarter" idx="10"/>
          </p:nvPr>
        </p:nvSpPr>
        <p:spPr>
          <a:xfrm>
            <a:off x="3924298" y="5185458"/>
            <a:ext cx="7772402" cy="1219998"/>
          </a:xfrm>
        </p:spPr>
        <p:txBody>
          <a:bodyPr/>
          <a:lstStyle/>
          <a:p>
            <a:r>
              <a:rPr lang="en-US">
                <a:latin typeface="Courier New" panose="02070309020205020404" pitchFamily="49" charset="0"/>
                <a:cs typeface="Courier New" panose="02070309020205020404" pitchFamily="49" charset="0"/>
              </a:rPr>
              <a:t>TypeName:</a:t>
            </a:r>
            <a:r>
              <a:rPr lang="en-US"/>
              <a:t> Object type</a:t>
            </a:r>
            <a:br>
              <a:rPr lang="en-US"/>
            </a:br>
            <a:r>
              <a:rPr lang="en-US">
                <a:latin typeface="Courier New" panose="02070309020205020404" pitchFamily="49" charset="0"/>
                <a:cs typeface="Courier New" panose="02070309020205020404" pitchFamily="49" charset="0"/>
              </a:rPr>
              <a:t>Method:</a:t>
            </a:r>
            <a:r>
              <a:rPr lang="en-US"/>
              <a:t> Performs an action and returns result</a:t>
            </a:r>
            <a:br>
              <a:rPr lang="en-US"/>
            </a:br>
            <a:r>
              <a:rPr lang="en-US">
                <a:latin typeface="Courier New" panose="02070309020205020404" pitchFamily="49" charset="0"/>
                <a:cs typeface="Courier New" panose="02070309020205020404" pitchFamily="49" charset="0"/>
              </a:rPr>
              <a:t>Property:</a:t>
            </a:r>
            <a:r>
              <a:rPr lang="en-US"/>
              <a:t> Provides access to additional metrics</a:t>
            </a:r>
          </a:p>
        </p:txBody>
      </p:sp>
      <p:sp>
        <p:nvSpPr>
          <p:cNvPr id="2" name="Footer Placeholder 1">
            <a:extLst>
              <a:ext uri="{FF2B5EF4-FFF2-40B4-BE49-F238E27FC236}">
                <a16:creationId xmlns:a16="http://schemas.microsoft.com/office/drawing/2014/main" id="{3481941F-D9F8-2B21-B967-49AB19AB88BC}"/>
              </a:ext>
            </a:extLst>
          </p:cNvPr>
          <p:cNvSpPr>
            <a:spLocks noGrp="1"/>
          </p:cNvSpPr>
          <p:nvPr>
            <p:ph type="ftr" sz="quarter" idx="3"/>
          </p:nvPr>
        </p:nvSpPr>
        <p:spPr/>
        <p:txBody>
          <a:bodyPr/>
          <a:lstStyle/>
          <a:p>
            <a:endParaRPr lang="en-US"/>
          </a:p>
        </p:txBody>
      </p:sp>
      <p:sp>
        <p:nvSpPr>
          <p:cNvPr id="3" name="Title 2">
            <a:extLst>
              <a:ext uri="{FF2B5EF4-FFF2-40B4-BE49-F238E27FC236}">
                <a16:creationId xmlns:a16="http://schemas.microsoft.com/office/drawing/2014/main" id="{AACCC045-802B-5648-C1BE-C548F4432B45}"/>
              </a:ext>
            </a:extLst>
          </p:cNvPr>
          <p:cNvSpPr>
            <a:spLocks noGrp="1"/>
          </p:cNvSpPr>
          <p:nvPr>
            <p:ph type="title"/>
          </p:nvPr>
        </p:nvSpPr>
        <p:spPr>
          <a:xfrm>
            <a:off x="300943" y="1719263"/>
            <a:ext cx="3159888" cy="2134979"/>
          </a:xfrm>
        </p:spPr>
        <p:txBody>
          <a:bodyPr/>
          <a:lstStyle/>
          <a:p>
            <a:r>
              <a:rPr lang="en-US"/>
              <a:t>Get-Member</a:t>
            </a:r>
            <a:endParaRPr lang="ru-RU"/>
          </a:p>
        </p:txBody>
      </p:sp>
      <p:sp>
        <p:nvSpPr>
          <p:cNvPr id="4" name="Subtitle 3">
            <a:extLst>
              <a:ext uri="{FF2B5EF4-FFF2-40B4-BE49-F238E27FC236}">
                <a16:creationId xmlns:a16="http://schemas.microsoft.com/office/drawing/2014/main" id="{D2001EC0-7AA8-A2D4-509A-84BE30A1FC45}"/>
              </a:ext>
            </a:extLst>
          </p:cNvPr>
          <p:cNvSpPr>
            <a:spLocks noGrp="1"/>
          </p:cNvSpPr>
          <p:nvPr>
            <p:ph type="subTitle" idx="1"/>
          </p:nvPr>
        </p:nvSpPr>
        <p:spPr/>
        <p:txBody>
          <a:bodyPr/>
          <a:lstStyle/>
          <a:p>
            <a:endParaRPr lang="ru-RU"/>
          </a:p>
        </p:txBody>
      </p:sp>
      <p:pic>
        <p:nvPicPr>
          <p:cNvPr id="11" name="Picture 10" descr="A screenshot of a computer&#10;&#10;Description automatically generated">
            <a:extLst>
              <a:ext uri="{FF2B5EF4-FFF2-40B4-BE49-F238E27FC236}">
                <a16:creationId xmlns:a16="http://schemas.microsoft.com/office/drawing/2014/main" id="{D6ED9EB8-98F6-5A76-70BE-600BBC6B0B1D}"/>
              </a:ext>
            </a:extLst>
          </p:cNvPr>
          <p:cNvPicPr>
            <a:picLocks noChangeAspect="1"/>
          </p:cNvPicPr>
          <p:nvPr/>
        </p:nvPicPr>
        <p:blipFill>
          <a:blip r:embed="rId3"/>
          <a:stretch>
            <a:fillRect/>
          </a:stretch>
        </p:blipFill>
        <p:spPr>
          <a:xfrm>
            <a:off x="3924298" y="344822"/>
            <a:ext cx="7772400" cy="2544328"/>
          </a:xfrm>
          <a:prstGeom prst="rect">
            <a:avLst/>
          </a:prstGeom>
        </p:spPr>
      </p:pic>
      <p:pic>
        <p:nvPicPr>
          <p:cNvPr id="13" name="Picture 12" descr="A screenshot of a computer screen&#10;&#10;Description automatically generated">
            <a:extLst>
              <a:ext uri="{FF2B5EF4-FFF2-40B4-BE49-F238E27FC236}">
                <a16:creationId xmlns:a16="http://schemas.microsoft.com/office/drawing/2014/main" id="{D2C3110C-8F4D-DFF9-7ACF-2CDE5E560A02}"/>
              </a:ext>
            </a:extLst>
          </p:cNvPr>
          <p:cNvPicPr>
            <a:picLocks noChangeAspect="1"/>
          </p:cNvPicPr>
          <p:nvPr/>
        </p:nvPicPr>
        <p:blipFill>
          <a:blip r:embed="rId4"/>
          <a:srcRect r="24302"/>
          <a:stretch/>
        </p:blipFill>
        <p:spPr>
          <a:xfrm>
            <a:off x="3924298" y="3040843"/>
            <a:ext cx="7772400" cy="1992921"/>
          </a:xfrm>
          <a:prstGeom prst="rect">
            <a:avLst/>
          </a:prstGeom>
        </p:spPr>
      </p:pic>
    </p:spTree>
    <p:extLst>
      <p:ext uri="{BB962C8B-B14F-4D97-AF65-F5344CB8AC3E}">
        <p14:creationId xmlns:p14="http://schemas.microsoft.com/office/powerpoint/2010/main" val="184976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4B5DD6-6E09-9ED7-5559-E477026FA0EB}"/>
            </a:ext>
          </a:extLst>
        </p:cNvPr>
        <p:cNvGrpSpPr/>
        <p:nvPr/>
      </p:nvGrpSpPr>
      <p:grpSpPr>
        <a:xfrm>
          <a:off x="0" y="0"/>
          <a:ext cx="0" cy="0"/>
          <a:chOff x="0" y="0"/>
          <a:chExt cx="0" cy="0"/>
        </a:xfrm>
      </p:grpSpPr>
      <p:sp>
        <p:nvSpPr>
          <p:cNvPr id="8" name="Content Placeholder 7">
            <a:extLst>
              <a:ext uri="{FF2B5EF4-FFF2-40B4-BE49-F238E27FC236}">
                <a16:creationId xmlns:a16="http://schemas.microsoft.com/office/drawing/2014/main" id="{F9ED4D4F-B864-F90D-1D9B-2147CC60CAF0}"/>
              </a:ext>
            </a:extLst>
          </p:cNvPr>
          <p:cNvSpPr>
            <a:spLocks noGrp="1"/>
          </p:cNvSpPr>
          <p:nvPr>
            <p:ph sz="quarter" idx="10"/>
          </p:nvPr>
        </p:nvSpPr>
        <p:spPr>
          <a:xfrm>
            <a:off x="3924298" y="524715"/>
            <a:ext cx="7391400" cy="1036638"/>
          </a:xfrm>
        </p:spPr>
        <p:txBody>
          <a:bodyPr/>
          <a:lstStyle/>
          <a:p>
            <a:r>
              <a:rPr lang="en-US"/>
              <a:t>Forces PowerShell to return list of all top-level properties.</a:t>
            </a:r>
          </a:p>
        </p:txBody>
      </p:sp>
      <p:sp>
        <p:nvSpPr>
          <p:cNvPr id="2" name="Footer Placeholder 1">
            <a:extLst>
              <a:ext uri="{FF2B5EF4-FFF2-40B4-BE49-F238E27FC236}">
                <a16:creationId xmlns:a16="http://schemas.microsoft.com/office/drawing/2014/main" id="{9AE8E71E-4D71-D2DB-7DD1-E94F44F23737}"/>
              </a:ext>
            </a:extLst>
          </p:cNvPr>
          <p:cNvSpPr>
            <a:spLocks noGrp="1"/>
          </p:cNvSpPr>
          <p:nvPr>
            <p:ph type="ftr" sz="quarter" idx="3"/>
          </p:nvPr>
        </p:nvSpPr>
        <p:spPr/>
        <p:txBody>
          <a:bodyPr/>
          <a:lstStyle/>
          <a:p>
            <a:endParaRPr lang="en-US"/>
          </a:p>
        </p:txBody>
      </p:sp>
      <p:sp>
        <p:nvSpPr>
          <p:cNvPr id="3" name="Title 2">
            <a:extLst>
              <a:ext uri="{FF2B5EF4-FFF2-40B4-BE49-F238E27FC236}">
                <a16:creationId xmlns:a16="http://schemas.microsoft.com/office/drawing/2014/main" id="{34398B7D-9154-E344-C60E-CB28F657E95B}"/>
              </a:ext>
            </a:extLst>
          </p:cNvPr>
          <p:cNvSpPr>
            <a:spLocks noGrp="1"/>
          </p:cNvSpPr>
          <p:nvPr>
            <p:ph type="title"/>
          </p:nvPr>
        </p:nvSpPr>
        <p:spPr>
          <a:xfrm>
            <a:off x="344826" y="1719263"/>
            <a:ext cx="2859087" cy="2134979"/>
          </a:xfrm>
        </p:spPr>
        <p:txBody>
          <a:bodyPr/>
          <a:lstStyle/>
          <a:p>
            <a:r>
              <a:rPr lang="en-US"/>
              <a:t>Format-List</a:t>
            </a:r>
            <a:endParaRPr lang="ru-RU"/>
          </a:p>
        </p:txBody>
      </p:sp>
      <p:sp>
        <p:nvSpPr>
          <p:cNvPr id="4" name="Subtitle 3">
            <a:extLst>
              <a:ext uri="{FF2B5EF4-FFF2-40B4-BE49-F238E27FC236}">
                <a16:creationId xmlns:a16="http://schemas.microsoft.com/office/drawing/2014/main" id="{BD6B05CB-824A-FD51-205B-9888FE37E2F2}"/>
              </a:ext>
            </a:extLst>
          </p:cNvPr>
          <p:cNvSpPr>
            <a:spLocks noGrp="1"/>
          </p:cNvSpPr>
          <p:nvPr>
            <p:ph type="subTitle" idx="1"/>
          </p:nvPr>
        </p:nvSpPr>
        <p:spPr/>
        <p:txBody>
          <a:bodyPr/>
          <a:lstStyle/>
          <a:p>
            <a:endParaRPr lang="ru-RU"/>
          </a:p>
        </p:txBody>
      </p:sp>
      <p:pic>
        <p:nvPicPr>
          <p:cNvPr id="6" name="Picture 5" descr="A computer screen shot of a computer program&#10;&#10;Description automatically generated">
            <a:extLst>
              <a:ext uri="{FF2B5EF4-FFF2-40B4-BE49-F238E27FC236}">
                <a16:creationId xmlns:a16="http://schemas.microsoft.com/office/drawing/2014/main" id="{D33373B7-FB25-1421-012D-91C86418E10E}"/>
              </a:ext>
            </a:extLst>
          </p:cNvPr>
          <p:cNvPicPr>
            <a:picLocks noChangeAspect="1"/>
          </p:cNvPicPr>
          <p:nvPr/>
        </p:nvPicPr>
        <p:blipFill>
          <a:blip r:embed="rId3"/>
          <a:stretch>
            <a:fillRect/>
          </a:stretch>
        </p:blipFill>
        <p:spPr>
          <a:xfrm>
            <a:off x="3924298" y="1043034"/>
            <a:ext cx="7772400" cy="5362422"/>
          </a:xfrm>
          <a:prstGeom prst="rect">
            <a:avLst/>
          </a:prstGeom>
        </p:spPr>
      </p:pic>
    </p:spTree>
    <p:extLst>
      <p:ext uri="{BB962C8B-B14F-4D97-AF65-F5344CB8AC3E}">
        <p14:creationId xmlns:p14="http://schemas.microsoft.com/office/powerpoint/2010/main" val="37839528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FABB3C-20D5-AC5C-A8CF-7EC39F684BB0}"/>
            </a:ext>
          </a:extLst>
        </p:cNvPr>
        <p:cNvGrpSpPr/>
        <p:nvPr/>
      </p:nvGrpSpPr>
      <p:grpSpPr>
        <a:xfrm>
          <a:off x="0" y="0"/>
          <a:ext cx="0" cy="0"/>
          <a:chOff x="0" y="0"/>
          <a:chExt cx="0" cy="0"/>
        </a:xfrm>
      </p:grpSpPr>
      <p:sp>
        <p:nvSpPr>
          <p:cNvPr id="8" name="Content Placeholder 7">
            <a:extLst>
              <a:ext uri="{FF2B5EF4-FFF2-40B4-BE49-F238E27FC236}">
                <a16:creationId xmlns:a16="http://schemas.microsoft.com/office/drawing/2014/main" id="{150468AA-D27E-7375-53EC-AE7210DAB0E2}"/>
              </a:ext>
            </a:extLst>
          </p:cNvPr>
          <p:cNvSpPr>
            <a:spLocks noGrp="1"/>
          </p:cNvSpPr>
          <p:nvPr>
            <p:ph sz="quarter" idx="10"/>
          </p:nvPr>
        </p:nvSpPr>
        <p:spPr>
          <a:xfrm>
            <a:off x="3924297" y="659476"/>
            <a:ext cx="7605093" cy="879957"/>
          </a:xfrm>
        </p:spPr>
        <p:txBody>
          <a:bodyPr/>
          <a:lstStyle/>
          <a:p>
            <a:r>
              <a:rPr lang="en-US" dirty="0"/>
              <a:t>Forces PowerShell to return table.</a:t>
            </a:r>
          </a:p>
          <a:p>
            <a:r>
              <a:rPr lang="en-US" dirty="0">
                <a:latin typeface="Courier New" panose="02070309020205020404" pitchFamily="49" charset="0"/>
                <a:cs typeface="Courier New" panose="02070309020205020404" pitchFamily="49" charset="0"/>
              </a:rPr>
              <a:t>-</a:t>
            </a:r>
            <a:r>
              <a:rPr lang="en-US" dirty="0" err="1">
                <a:latin typeface="Courier New" panose="02070309020205020404" pitchFamily="49" charset="0"/>
                <a:cs typeface="Courier New" panose="02070309020205020404" pitchFamily="49" charset="0"/>
              </a:rPr>
              <a:t>Autosize</a:t>
            </a:r>
            <a:r>
              <a:rPr lang="en-US" dirty="0"/>
              <a:t> flag forces columns to resize according to data size.</a:t>
            </a:r>
          </a:p>
        </p:txBody>
      </p:sp>
      <p:sp>
        <p:nvSpPr>
          <p:cNvPr id="2" name="Footer Placeholder 1">
            <a:extLst>
              <a:ext uri="{FF2B5EF4-FFF2-40B4-BE49-F238E27FC236}">
                <a16:creationId xmlns:a16="http://schemas.microsoft.com/office/drawing/2014/main" id="{694EE3D3-FCF6-7CB0-0C68-1C96E5CD2D2B}"/>
              </a:ext>
            </a:extLst>
          </p:cNvPr>
          <p:cNvSpPr>
            <a:spLocks noGrp="1"/>
          </p:cNvSpPr>
          <p:nvPr>
            <p:ph type="ftr" sz="quarter" idx="3"/>
          </p:nvPr>
        </p:nvSpPr>
        <p:spPr/>
        <p:txBody>
          <a:bodyPr/>
          <a:lstStyle/>
          <a:p>
            <a:endParaRPr lang="en-US"/>
          </a:p>
        </p:txBody>
      </p:sp>
      <p:sp>
        <p:nvSpPr>
          <p:cNvPr id="3" name="Title 2">
            <a:extLst>
              <a:ext uri="{FF2B5EF4-FFF2-40B4-BE49-F238E27FC236}">
                <a16:creationId xmlns:a16="http://schemas.microsoft.com/office/drawing/2014/main" id="{263F70DB-803D-4C3D-20D3-CB434BCC9191}"/>
              </a:ext>
            </a:extLst>
          </p:cNvPr>
          <p:cNvSpPr>
            <a:spLocks noGrp="1"/>
          </p:cNvSpPr>
          <p:nvPr>
            <p:ph type="title"/>
          </p:nvPr>
        </p:nvSpPr>
        <p:spPr>
          <a:xfrm>
            <a:off x="335667" y="1719263"/>
            <a:ext cx="3229336" cy="2134979"/>
          </a:xfrm>
        </p:spPr>
        <p:txBody>
          <a:bodyPr/>
          <a:lstStyle/>
          <a:p>
            <a:r>
              <a:rPr lang="en-US" sz="4200" dirty="0"/>
              <a:t>Format-Table</a:t>
            </a:r>
            <a:endParaRPr lang="ru-RU" sz="4200" dirty="0"/>
          </a:p>
        </p:txBody>
      </p:sp>
      <p:sp>
        <p:nvSpPr>
          <p:cNvPr id="4" name="Subtitle 3">
            <a:extLst>
              <a:ext uri="{FF2B5EF4-FFF2-40B4-BE49-F238E27FC236}">
                <a16:creationId xmlns:a16="http://schemas.microsoft.com/office/drawing/2014/main" id="{D59CA758-F06A-36A0-B5FD-2776FF31CFAD}"/>
              </a:ext>
            </a:extLst>
          </p:cNvPr>
          <p:cNvSpPr>
            <a:spLocks noGrp="1"/>
          </p:cNvSpPr>
          <p:nvPr>
            <p:ph type="subTitle" idx="1"/>
          </p:nvPr>
        </p:nvSpPr>
        <p:spPr/>
        <p:txBody>
          <a:bodyPr/>
          <a:lstStyle/>
          <a:p>
            <a:endParaRPr lang="ru-RU"/>
          </a:p>
        </p:txBody>
      </p:sp>
      <p:pic>
        <p:nvPicPr>
          <p:cNvPr id="6" name="Picture 5" descr="A screenshot of a computer screen&#10;&#10;Description automatically generated">
            <a:extLst>
              <a:ext uri="{FF2B5EF4-FFF2-40B4-BE49-F238E27FC236}">
                <a16:creationId xmlns:a16="http://schemas.microsoft.com/office/drawing/2014/main" id="{F95E331D-754B-6810-2977-F0B1E6F0E38E}"/>
              </a:ext>
            </a:extLst>
          </p:cNvPr>
          <p:cNvPicPr>
            <a:picLocks noChangeAspect="1"/>
          </p:cNvPicPr>
          <p:nvPr/>
        </p:nvPicPr>
        <p:blipFill>
          <a:blip r:embed="rId3"/>
          <a:stretch>
            <a:fillRect/>
          </a:stretch>
        </p:blipFill>
        <p:spPr>
          <a:xfrm>
            <a:off x="3924298" y="1719263"/>
            <a:ext cx="7772400" cy="2376073"/>
          </a:xfrm>
          <a:prstGeom prst="rect">
            <a:avLst/>
          </a:prstGeom>
        </p:spPr>
      </p:pic>
      <p:pic>
        <p:nvPicPr>
          <p:cNvPr id="9" name="Picture 8" descr="A screenshot of a computer program&#10;&#10;Description automatically generated">
            <a:extLst>
              <a:ext uri="{FF2B5EF4-FFF2-40B4-BE49-F238E27FC236}">
                <a16:creationId xmlns:a16="http://schemas.microsoft.com/office/drawing/2014/main" id="{0D4FB40D-863A-BAAD-3A4D-E9AF86DDB490}"/>
              </a:ext>
            </a:extLst>
          </p:cNvPr>
          <p:cNvPicPr>
            <a:picLocks noChangeAspect="1"/>
          </p:cNvPicPr>
          <p:nvPr/>
        </p:nvPicPr>
        <p:blipFill>
          <a:blip r:embed="rId4"/>
          <a:stretch>
            <a:fillRect/>
          </a:stretch>
        </p:blipFill>
        <p:spPr>
          <a:xfrm>
            <a:off x="3924298" y="4275166"/>
            <a:ext cx="7772400" cy="2123239"/>
          </a:xfrm>
          <a:prstGeom prst="rect">
            <a:avLst/>
          </a:prstGeom>
        </p:spPr>
      </p:pic>
    </p:spTree>
    <p:extLst>
      <p:ext uri="{BB962C8B-B14F-4D97-AF65-F5344CB8AC3E}">
        <p14:creationId xmlns:p14="http://schemas.microsoft.com/office/powerpoint/2010/main" val="24713633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Veeam">
  <a:themeElements>
    <a:clrScheme name="Custom 3">
      <a:dk1>
        <a:srgbClr val="505861"/>
      </a:dk1>
      <a:lt1>
        <a:srgbClr val="FFFFFF"/>
      </a:lt1>
      <a:dk2>
        <a:srgbClr val="ADACAF"/>
      </a:dk2>
      <a:lt2>
        <a:srgbClr val="EFEFEF"/>
      </a:lt2>
      <a:accent1>
        <a:srgbClr val="000000"/>
      </a:accent1>
      <a:accent2>
        <a:srgbClr val="00D15F"/>
      </a:accent2>
      <a:accent3>
        <a:srgbClr val="3700FF"/>
      </a:accent3>
      <a:accent4>
        <a:srgbClr val="01B0FE"/>
      </a:accent4>
      <a:accent5>
        <a:srgbClr val="FFD836"/>
      </a:accent5>
      <a:accent6>
        <a:srgbClr val="FE8A25"/>
      </a:accent6>
      <a:hlink>
        <a:srgbClr val="00D15F"/>
      </a:hlink>
      <a:folHlink>
        <a:srgbClr val="3700FF"/>
      </a:folHlink>
    </a:clrScheme>
    <a:fontScheme name="Veeam">
      <a:majorFont>
        <a:latin typeface="ES Build"/>
        <a:ea typeface=""/>
        <a:cs typeface=""/>
      </a:majorFont>
      <a:minorFont>
        <a:latin typeface="ES Build Neutr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lnSpc>
            <a:spcPct val="96000"/>
          </a:lnSpc>
          <a:defRPr dirty="0">
            <a:solidFill>
              <a:schemeClr val="bg1"/>
            </a:solidFill>
            <a:latin typeface="ES Build" pitchFamily="50" charset="0"/>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3"/>
          </a:solidFill>
          <a:round/>
          <a:headEnd type="none" w="med" len="sm"/>
          <a:tailEnd type="none" w="sm" len="sm"/>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Casia">
      <a:srgbClr val="8E71F4"/>
    </a:custClr>
    <a:custClr name="Ignis">
      <a:srgbClr val="ED2B3D"/>
    </a:custClr>
    <a:custClr name="Viridis">
      <a:srgbClr val="00D15F"/>
    </a:custClr>
    <a:custClr name="Black">
      <a:srgbClr val="000000"/>
    </a:custClr>
    <a:custClr name="Dark Mineral">
      <a:srgbClr val="505861"/>
    </a:custClr>
    <a:custClr name="French Grey">
      <a:srgbClr val="ADACAF"/>
    </a:custClr>
    <a:custClr name="Sol">
      <a:srgbClr val="FFD839"/>
    </a:custClr>
    <a:custClr name="Suma">
      <a:srgbClr val="FE8A25"/>
    </a:custClr>
    <a:custClr name="Electric Azure">
      <a:srgbClr val="3700FF"/>
    </a:custClr>
    <a:custClr name="Sky">
      <a:srgbClr val="01B0FE"/>
    </a:custClr>
  </a:custClrLst>
  <a:extLst>
    <a:ext uri="{05A4C25C-085E-4340-85A3-A5531E510DB2}">
      <thm15:themeFamily xmlns:thm15="http://schemas.microsoft.com/office/thememl/2012/main" name="Veeam 2024.potx" id="{BECC50B4-68B7-445B-8F88-F54D8C4907D5}" vid="{1F7850F6-981F-44C0-B0DF-D1B0B3CDCA5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3">
    <a:dk1>
      <a:srgbClr val="505861"/>
    </a:dk1>
    <a:lt1>
      <a:srgbClr val="FFFFFF"/>
    </a:lt1>
    <a:dk2>
      <a:srgbClr val="ADACAF"/>
    </a:dk2>
    <a:lt2>
      <a:srgbClr val="EFEFEF"/>
    </a:lt2>
    <a:accent1>
      <a:srgbClr val="000000"/>
    </a:accent1>
    <a:accent2>
      <a:srgbClr val="00D15F"/>
    </a:accent2>
    <a:accent3>
      <a:srgbClr val="3700FF"/>
    </a:accent3>
    <a:accent4>
      <a:srgbClr val="01B0FE"/>
    </a:accent4>
    <a:accent5>
      <a:srgbClr val="FFD836"/>
    </a:accent5>
    <a:accent6>
      <a:srgbClr val="FE8A25"/>
    </a:accent6>
    <a:hlink>
      <a:srgbClr val="00D15F"/>
    </a:hlink>
    <a:folHlink>
      <a:srgbClr val="3700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9d2e572c-414c-4f58-ad65-f3f359ebc7e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1B44F84EDAA994BB72142B8CB260A4F" ma:contentTypeVersion="17" ma:contentTypeDescription="Create a new document." ma:contentTypeScope="" ma:versionID="89598615a5ebf7e3bf2122900aacef10">
  <xsd:schema xmlns:xsd="http://www.w3.org/2001/XMLSchema" xmlns:xs="http://www.w3.org/2001/XMLSchema" xmlns:p="http://schemas.microsoft.com/office/2006/metadata/properties" xmlns:ns3="9d2e572c-414c-4f58-ad65-f3f359ebc7e2" xmlns:ns4="be10a67c-b29b-4a4c-a7a3-9911f2521729" targetNamespace="http://schemas.microsoft.com/office/2006/metadata/properties" ma:root="true" ma:fieldsID="e727c7a47c1863bd602ec23b55199798" ns3:_="" ns4:_="">
    <xsd:import namespace="9d2e572c-414c-4f58-ad65-f3f359ebc7e2"/>
    <xsd:import namespace="be10a67c-b29b-4a4c-a7a3-9911f252172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EventHashCode" minOccurs="0"/>
                <xsd:element ref="ns3:MediaServiceGenerationTime" minOccurs="0"/>
                <xsd:element ref="ns3:MediaServiceAutoKeyPoints" minOccurs="0"/>
                <xsd:element ref="ns3:MediaServiceKeyPoints" minOccurs="0"/>
                <xsd:element ref="ns3:MediaServiceDateTaken" minOccurs="0"/>
                <xsd:element ref="ns3:MediaLengthInSeconds" minOccurs="0"/>
                <xsd:element ref="ns3:_activity"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2e572c-414c-4f58-ad65-f3f359ebc7e2"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e10a67c-b29b-4a4c-a7a3-9911f252172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529E55-D9C0-413C-B0B5-2D8C879F675E}">
  <ds:schemaRefs>
    <ds:schemaRef ds:uri="http://schemas.microsoft.com/sharepoint/v3/contenttype/forms"/>
  </ds:schemaRefs>
</ds:datastoreItem>
</file>

<file path=customXml/itemProps2.xml><?xml version="1.0" encoding="utf-8"?>
<ds:datastoreItem xmlns:ds="http://schemas.openxmlformats.org/officeDocument/2006/customXml" ds:itemID="{E948E669-A802-4AD3-B8E1-7F3808685BA9}">
  <ds:schemaRefs>
    <ds:schemaRef ds:uri="9d2e572c-414c-4f58-ad65-f3f359ebc7e2"/>
    <ds:schemaRef ds:uri="http://www.w3.org/XML/1998/namespace"/>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purl.org/dc/terms/"/>
    <ds:schemaRef ds:uri="be10a67c-b29b-4a4c-a7a3-9911f2521729"/>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7301AE2A-6A8C-466B-8906-5096F399C762}">
  <ds:schemaRefs>
    <ds:schemaRef ds:uri="9d2e572c-414c-4f58-ad65-f3f359ebc7e2"/>
    <ds:schemaRef ds:uri="be10a67c-b29b-4a4c-a7a3-9911f252172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230</TotalTime>
  <Words>2476</Words>
  <Application>Microsoft Office PowerPoint</Application>
  <PresentationFormat>Widescreen</PresentationFormat>
  <Paragraphs>344</Paragraphs>
  <Slides>36</Slides>
  <Notes>29</Notes>
  <HiddenSlides>6</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36</vt:i4>
      </vt:variant>
    </vt:vector>
  </HeadingPairs>
  <TitlesOfParts>
    <vt:vector size="50" baseType="lpstr">
      <vt:lpstr>Arial</vt:lpstr>
      <vt:lpstr>Arial Unicode MS</vt:lpstr>
      <vt:lpstr>Calibri</vt:lpstr>
      <vt:lpstr>Courier New</vt:lpstr>
      <vt:lpstr>ES Build</vt:lpstr>
      <vt:lpstr>ES Build </vt:lpstr>
      <vt:lpstr>ES Build (</vt:lpstr>
      <vt:lpstr>ES Build Medium</vt:lpstr>
      <vt:lpstr>ES Build Neutral</vt:lpstr>
      <vt:lpstr>Menlo-Regular</vt:lpstr>
      <vt:lpstr>Microsoft Sans Serif</vt:lpstr>
      <vt:lpstr>System Font Regular</vt:lpstr>
      <vt:lpstr>Wingdings</vt:lpstr>
      <vt:lpstr>Veeam</vt:lpstr>
      <vt:lpstr>Sane PowerShell Script Design</vt:lpstr>
      <vt:lpstr>Smart PowerShell Design Tricks</vt:lpstr>
      <vt:lpstr>Github Repo Link</vt:lpstr>
      <vt:lpstr>ALL GREEN CONTENT </vt:lpstr>
      <vt:lpstr>Agenda</vt:lpstr>
      <vt:lpstr>Useful PowerShell commands</vt:lpstr>
      <vt:lpstr>Get-Member</vt:lpstr>
      <vt:lpstr>Format-List</vt:lpstr>
      <vt:lpstr>Format-Table</vt:lpstr>
      <vt:lpstr>Get-Alias</vt:lpstr>
      <vt:lpstr>Script design tips</vt:lpstr>
      <vt:lpstr>Idea…</vt:lpstr>
      <vt:lpstr>Why?</vt:lpstr>
      <vt:lpstr>Script Design Tips and Tricks</vt:lpstr>
      <vt:lpstr>Parameters</vt:lpstr>
      <vt:lpstr>A simple parameter refresher</vt:lpstr>
      <vt:lpstr>Business Logic Dictates Parameters, Not Vice-Versa</vt:lpstr>
      <vt:lpstr>Let’s Pretty That Up</vt:lpstr>
      <vt:lpstr>Validating Parameters</vt:lpstr>
      <vt:lpstr>Validating Parameters: Sanely</vt:lpstr>
      <vt:lpstr>Comment Based Help</vt:lpstr>
      <vt:lpstr>Strings Are the Devil</vt:lpstr>
      <vt:lpstr>Script Sanity Checks</vt:lpstr>
      <vt:lpstr>Example 1: Administrative Shell</vt:lpstr>
      <vt:lpstr>Another Example</vt:lpstr>
      <vt:lpstr>Common Sanity Tests</vt:lpstr>
      <vt:lpstr>Handling Failures</vt:lpstr>
      <vt:lpstr>Logging</vt:lpstr>
      <vt:lpstr>Functions</vt:lpstr>
      <vt:lpstr>PowerShell in action</vt:lpstr>
      <vt:lpstr>Ansible</vt:lpstr>
      <vt:lpstr>Ansible</vt:lpstr>
      <vt:lpstr>VeeamHub</vt:lpstr>
      <vt:lpstr>PowerPoint Presentation</vt:lpstr>
      <vt:lpstr>Section divider titl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the Refreshed Veeam Brand</dc:title>
  <dc:creator>David Domask</dc:creator>
  <cp:keywords>Veeam</cp:keywords>
  <cp:lastModifiedBy>David Domask</cp:lastModifiedBy>
  <cp:revision>2</cp:revision>
  <dcterms:created xsi:type="dcterms:W3CDTF">2024-08-07T15:34:42Z</dcterms:created>
  <dcterms:modified xsi:type="dcterms:W3CDTF">2024-10-29T14:13:32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1B44F84EDAA994BB72142B8CB260A4F</vt:lpwstr>
  </property>
  <property fmtid="{D5CDD505-2E9C-101B-9397-08002B2CF9AE}" pid="3" name="MSIP_Label_a338ddab-9d29-4c06-9786-7f10c0032bc4_Enabled">
    <vt:lpwstr>true</vt:lpwstr>
  </property>
  <property fmtid="{D5CDD505-2E9C-101B-9397-08002B2CF9AE}" pid="4" name="MSIP_Label_a338ddab-9d29-4c06-9786-7f10c0032bc4_SetDate">
    <vt:lpwstr>2024-08-07T16:27:11Z</vt:lpwstr>
  </property>
  <property fmtid="{D5CDD505-2E9C-101B-9397-08002B2CF9AE}" pid="5" name="MSIP_Label_a338ddab-9d29-4c06-9786-7f10c0032bc4_Method">
    <vt:lpwstr>Privileged</vt:lpwstr>
  </property>
  <property fmtid="{D5CDD505-2E9C-101B-9397-08002B2CF9AE}" pid="6" name="MSIP_Label_a338ddab-9d29-4c06-9786-7f10c0032bc4_Name">
    <vt:lpwstr>Internal Use</vt:lpwstr>
  </property>
  <property fmtid="{D5CDD505-2E9C-101B-9397-08002B2CF9AE}" pid="7" name="MSIP_Label_a338ddab-9d29-4c06-9786-7f10c0032bc4_SiteId">
    <vt:lpwstr>ba07baab-431b-49ed-add7-cbc3542f5140</vt:lpwstr>
  </property>
  <property fmtid="{D5CDD505-2E9C-101B-9397-08002B2CF9AE}" pid="8" name="MSIP_Label_a338ddab-9d29-4c06-9786-7f10c0032bc4_ActionId">
    <vt:lpwstr>61c5e592-0d13-498b-88f9-ecebd77a5ebb</vt:lpwstr>
  </property>
  <property fmtid="{D5CDD505-2E9C-101B-9397-08002B2CF9AE}" pid="9" name="MSIP_Label_a338ddab-9d29-4c06-9786-7f10c0032bc4_ContentBits">
    <vt:lpwstr>0</vt:lpwstr>
  </property>
</Properties>
</file>